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6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3"/>
    <p:sldMasterId id="2147483676" r:id="rId4"/>
    <p:sldMasterId id="2147483688" r:id="rId5"/>
    <p:sldMasterId id="2147483703" r:id="rId6"/>
    <p:sldMasterId id="2147483738" r:id="rId7"/>
    <p:sldMasterId id="2147483753" r:id="rId8"/>
    <p:sldMasterId id="2147483784" r:id="rId9"/>
  </p:sldMasterIdLst>
  <p:notesMasterIdLst>
    <p:notesMasterId r:id="rId28"/>
  </p:notesMasterIdLst>
  <p:sldIdLst>
    <p:sldId id="287" r:id="rId10"/>
    <p:sldId id="280" r:id="rId11"/>
    <p:sldId id="284" r:id="rId12"/>
    <p:sldId id="285" r:id="rId13"/>
    <p:sldId id="286" r:id="rId14"/>
    <p:sldId id="294" r:id="rId15"/>
    <p:sldId id="293" r:id="rId16"/>
    <p:sldId id="295" r:id="rId17"/>
    <p:sldId id="272" r:id="rId18"/>
    <p:sldId id="288" r:id="rId19"/>
    <p:sldId id="289" r:id="rId20"/>
    <p:sldId id="290" r:id="rId21"/>
    <p:sldId id="291" r:id="rId22"/>
    <p:sldId id="292" r:id="rId23"/>
    <p:sldId id="297" r:id="rId24"/>
    <p:sldId id="267" r:id="rId25"/>
    <p:sldId id="268" r:id="rId26"/>
    <p:sldId id="269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09" autoAdjust="0"/>
    <p:restoredTop sz="89520" autoAdjust="0"/>
  </p:normalViewPr>
  <p:slideViewPr>
    <p:cSldViewPr>
      <p:cViewPr varScale="1">
        <p:scale>
          <a:sx n="66" d="100"/>
          <a:sy n="66" d="100"/>
        </p:scale>
        <p:origin x="-149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97A793-858C-4BBD-8762-37862BBF05E4}" type="datetimeFigureOut">
              <a:rPr lang="en-US" smtClean="0"/>
              <a:t>2/10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453DF6-47F8-42EA-BDD9-C526F9F598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0888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>
              <a:buClr>
                <a:srgbClr val="1F497D"/>
              </a:buClr>
            </a:pPr>
            <a:fld id="{D2B34CEB-E0D5-439B-AFE6-D6AA6A4FF518}" type="slidenum">
              <a:rPr lang="de-CH"/>
              <a:pPr>
                <a:buClr>
                  <a:srgbClr val="1F497D"/>
                </a:buClr>
              </a:pPr>
              <a:t>1</a:t>
            </a:fld>
            <a:endParaRPr lang="de-CH"/>
          </a:p>
        </p:txBody>
      </p:sp>
      <p:sp>
        <p:nvSpPr>
          <p:cNvPr id="210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0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>
              <a:buClr>
                <a:srgbClr val="1F497D"/>
              </a:buClr>
            </a:pPr>
            <a:fld id="{D2B34CEB-E0D5-439B-AFE6-D6AA6A4FF518}" type="slidenum">
              <a:rPr lang="de-CH"/>
              <a:pPr>
                <a:buClr>
                  <a:srgbClr val="1F497D"/>
                </a:buClr>
              </a:pPr>
              <a:t>6</a:t>
            </a:fld>
            <a:endParaRPr lang="de-CH"/>
          </a:p>
        </p:txBody>
      </p:sp>
      <p:sp>
        <p:nvSpPr>
          <p:cNvPr id="210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0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482600"/>
            <a:ext cx="5688013" cy="42656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E3404-78B9-4819-95A6-F9D07B45CDE8}" type="slidenum">
              <a:rPr lang="de-DE" smtClean="0">
                <a:solidFill>
                  <a:prstClr val="black"/>
                </a:solidFill>
              </a:rPr>
              <a:pPr/>
              <a:t>9</a:t>
            </a:fld>
            <a:endParaRPr lang="de-DE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482600"/>
            <a:ext cx="5688013" cy="42656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E3404-78B9-4819-95A6-F9D07B45CDE8}" type="slidenum">
              <a:rPr lang="de-DE" smtClean="0">
                <a:solidFill>
                  <a:prstClr val="black"/>
                </a:solidFill>
              </a:rPr>
              <a:pPr/>
              <a:t>11</a:t>
            </a:fld>
            <a:endParaRPr lang="de-DE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65175" y="482600"/>
            <a:ext cx="5688013" cy="426561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>
              <a:latin typeface="Arial" charset="0"/>
              <a:cs typeface="Arial" charset="0"/>
            </a:endParaRPr>
          </a:p>
        </p:txBody>
      </p:sp>
      <p:sp>
        <p:nvSpPr>
          <p:cNvPr id="7680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D409E905-93B0-47EB-BF03-A889B32D5358}" type="slidenum">
              <a:rPr lang="de-DE" smtClean="0">
                <a:solidFill>
                  <a:prstClr val="black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>
              <a:buClr>
                <a:srgbClr val="1F497D"/>
              </a:buClr>
            </a:pPr>
            <a:fld id="{D2B34CEB-E0D5-439B-AFE6-D6AA6A4FF518}" type="slidenum">
              <a:rPr lang="de-CH"/>
              <a:pPr>
                <a:buClr>
                  <a:srgbClr val="1F497D"/>
                </a:buClr>
              </a:pPr>
              <a:t>15</a:t>
            </a:fld>
            <a:endParaRPr lang="de-CH"/>
          </a:p>
        </p:txBody>
      </p:sp>
      <p:sp>
        <p:nvSpPr>
          <p:cNvPr id="210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0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2C8572D-04DA-454A-9EC3-9119E7F281B7}" type="slidenum">
              <a:rPr lang="de-CH">
                <a:solidFill>
                  <a:prstClr val="black"/>
                </a:solidFill>
              </a:rPr>
              <a:pPr/>
              <a:t>17</a:t>
            </a:fld>
            <a:endParaRPr lang="de-CH">
              <a:solidFill>
                <a:prstClr val="black"/>
              </a:solidFill>
            </a:endParaRPr>
          </a:p>
        </p:txBody>
      </p:sp>
      <p:sp>
        <p:nvSpPr>
          <p:cNvPr id="2118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186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•"/>
            </a:pPr>
            <a:r>
              <a:rPr lang="en-US" dirty="0"/>
              <a:t>Integrated Process and Power Automation, which is Electrical Integration with ABB’s System 800xA</a:t>
            </a:r>
          </a:p>
          <a:p>
            <a:pPr>
              <a:buFontTx/>
              <a:buChar char="•"/>
            </a:pPr>
            <a:r>
              <a:rPr lang="en-US" dirty="0"/>
              <a:t>This means</a:t>
            </a:r>
          </a:p>
          <a:p>
            <a:r>
              <a:rPr lang="en-US" dirty="0"/>
              <a:t>CLICK</a:t>
            </a:r>
          </a:p>
          <a:p>
            <a:pPr>
              <a:buFontTx/>
              <a:buChar char="•"/>
            </a:pPr>
            <a:r>
              <a:rPr lang="en-US" dirty="0"/>
              <a:t>Full Plant Integration with System 800xA, i.e. using one system for both process automation and power automation</a:t>
            </a:r>
          </a:p>
          <a:p>
            <a:r>
              <a:rPr lang="en-US" dirty="0"/>
              <a:t>CLICK 	</a:t>
            </a:r>
          </a:p>
          <a:p>
            <a:pPr>
              <a:buFontTx/>
              <a:buChar char="•"/>
            </a:pPr>
            <a:r>
              <a:rPr lang="en-US" dirty="0"/>
              <a:t>Electrical Integration based on Open Standards, utilizing open fieldbus solutions and IEC 61850 to integrated all areas</a:t>
            </a:r>
          </a:p>
          <a:p>
            <a:r>
              <a:rPr lang="en-US" dirty="0"/>
              <a:t>CLICK 	</a:t>
            </a:r>
          </a:p>
          <a:p>
            <a:pPr>
              <a:buFontTx/>
              <a:buChar char="•"/>
            </a:pPr>
            <a:r>
              <a:rPr lang="en-US" dirty="0"/>
              <a:t>Complete Portfolio from ABB, meaning ABB has the products, expertise and experience to deliver fully integrated systems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2C8572D-04DA-454A-9EC3-9119E7F281B7}" type="slidenum">
              <a:rPr lang="de-CH">
                <a:solidFill>
                  <a:prstClr val="black"/>
                </a:solidFill>
              </a:rPr>
              <a:pPr/>
              <a:t>18</a:t>
            </a:fld>
            <a:endParaRPr lang="de-CH">
              <a:solidFill>
                <a:prstClr val="black"/>
              </a:solidFill>
            </a:endParaRPr>
          </a:p>
        </p:txBody>
      </p:sp>
      <p:sp>
        <p:nvSpPr>
          <p:cNvPr id="2118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186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•"/>
            </a:pPr>
            <a:r>
              <a:rPr lang="en-US"/>
              <a:t>Integrated Process and Power Automation, which is Electrical Integration with ABB’s System 800xA</a:t>
            </a:r>
          </a:p>
          <a:p>
            <a:pPr>
              <a:buFontTx/>
              <a:buChar char="•"/>
            </a:pPr>
            <a:r>
              <a:rPr lang="en-US"/>
              <a:t>This means</a:t>
            </a:r>
          </a:p>
          <a:p>
            <a:r>
              <a:rPr lang="en-US"/>
              <a:t>CLICK</a:t>
            </a:r>
          </a:p>
          <a:p>
            <a:pPr>
              <a:buFontTx/>
              <a:buChar char="•"/>
            </a:pPr>
            <a:r>
              <a:rPr lang="en-US"/>
              <a:t>Full Plant Integration with System 800xA, i.e. using one system for both process automation and power automation</a:t>
            </a:r>
          </a:p>
          <a:p>
            <a:r>
              <a:rPr lang="en-US"/>
              <a:t>CLICK 	</a:t>
            </a:r>
          </a:p>
          <a:p>
            <a:pPr>
              <a:buFontTx/>
              <a:buChar char="•"/>
            </a:pPr>
            <a:r>
              <a:rPr lang="en-US"/>
              <a:t>Electrical Integration based on Open Standards, utilizing open fieldbus solutions and IEC 61850 to integrated all areas</a:t>
            </a:r>
          </a:p>
          <a:p>
            <a:r>
              <a:rPr lang="en-US"/>
              <a:t>CLICK 	</a:t>
            </a:r>
          </a:p>
          <a:p>
            <a:pPr>
              <a:buFontTx/>
              <a:buChar char="•"/>
            </a:pPr>
            <a:r>
              <a:rPr lang="en-US"/>
              <a:t>Complete Portfolio from ABB, meaning ABB has the products, expertise and experience to deliver fully integrated systems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6" name="Rectangle 260"/>
          <p:cNvSpPr>
            <a:spLocks noChangeArrowheads="1"/>
          </p:cNvSpPr>
          <p:nvPr/>
        </p:nvSpPr>
        <p:spPr bwMode="auto">
          <a:xfrm>
            <a:off x="215900" y="223838"/>
            <a:ext cx="8712200" cy="597693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002897"/>
              </a:buClr>
              <a:buSzPct val="70000"/>
              <a:buFont typeface="Wingdings" pitchFamily="48" charset="2"/>
              <a:buChar char="§"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130" name="Rectangle 34"/>
          <p:cNvSpPr>
            <a:spLocks noGrp="1" noChangeArrowheads="1"/>
          </p:cNvSpPr>
          <p:nvPr>
            <p:ph type="ctrTitle"/>
          </p:nvPr>
        </p:nvSpPr>
        <p:spPr>
          <a:xfrm>
            <a:off x="215900" y="4184650"/>
            <a:ext cx="8712200" cy="2016125"/>
          </a:xfrm>
        </p:spPr>
        <p:txBody>
          <a:bodyPr lIns="144000" tIns="0" rIns="0"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4138" name="Rectangle 4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15900" y="3968750"/>
            <a:ext cx="8712200" cy="215900"/>
          </a:xfrm>
        </p:spPr>
        <p:txBody>
          <a:bodyPr lIns="169200"/>
          <a:lstStyle>
            <a:lvl1pPr marL="0" indent="0">
              <a:buFont typeface="Wingdings" pitchFamily="48" charset="2"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de-CH" noProof="0" smtClean="0"/>
          </a:p>
        </p:txBody>
      </p:sp>
      <p:grpSp>
        <p:nvGrpSpPr>
          <p:cNvPr id="4300" name="shpGridNormal" hidden="1"/>
          <p:cNvGrpSpPr>
            <a:grpSpLocks/>
          </p:cNvGrpSpPr>
          <p:nvPr/>
        </p:nvGrpSpPr>
        <p:grpSpPr bwMode="auto">
          <a:xfrm>
            <a:off x="325438" y="434975"/>
            <a:ext cx="8496300" cy="5983288"/>
            <a:chOff x="292" y="389"/>
            <a:chExt cx="7611" cy="5361"/>
          </a:xfrm>
        </p:grpSpPr>
        <p:sp>
          <p:nvSpPr>
            <p:cNvPr id="4301" name="Rectangle 205" hidden="1"/>
            <p:cNvSpPr>
              <a:spLocks noChangeArrowheads="1"/>
            </p:cNvSpPr>
            <p:nvPr userDrawn="1"/>
          </p:nvSpPr>
          <p:spPr bwMode="auto">
            <a:xfrm>
              <a:off x="292" y="389"/>
              <a:ext cx="7610" cy="5361"/>
            </a:xfrm>
            <a:prstGeom prst="rect">
              <a:avLst/>
            </a:prstGeom>
            <a:noFill/>
            <a:ln w="19050">
              <a:solidFill>
                <a:srgbClr val="8BA2B2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8E0E5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642938" fontAlgn="base">
                <a:spcBef>
                  <a:spcPct val="0"/>
                </a:spcBef>
                <a:spcAft>
                  <a:spcPct val="0"/>
                </a:spcAft>
              </a:pPr>
              <a:endParaRPr lang="en-GB" sz="1700">
                <a:solidFill>
                  <a:srgbClr val="000000"/>
                </a:solidFill>
              </a:endParaRPr>
            </a:p>
          </p:txBody>
        </p:sp>
        <p:sp>
          <p:nvSpPr>
            <p:cNvPr id="4302" name="Line 206" hidden="1"/>
            <p:cNvSpPr>
              <a:spLocks noChangeShapeType="1"/>
            </p:cNvSpPr>
            <p:nvPr userDrawn="1"/>
          </p:nvSpPr>
          <p:spPr bwMode="auto">
            <a:xfrm>
              <a:off x="311" y="927"/>
              <a:ext cx="756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3" name="Line 207" hidden="1"/>
            <p:cNvSpPr>
              <a:spLocks noChangeShapeType="1"/>
            </p:cNvSpPr>
            <p:nvPr userDrawn="1"/>
          </p:nvSpPr>
          <p:spPr bwMode="auto">
            <a:xfrm>
              <a:off x="311" y="1460"/>
              <a:ext cx="759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4" name="Line 208" hidden="1"/>
            <p:cNvSpPr>
              <a:spLocks noChangeShapeType="1"/>
            </p:cNvSpPr>
            <p:nvPr userDrawn="1"/>
          </p:nvSpPr>
          <p:spPr bwMode="auto">
            <a:xfrm>
              <a:off x="311" y="2002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5" name="Line 209" hidden="1"/>
            <p:cNvSpPr>
              <a:spLocks noChangeShapeType="1"/>
            </p:cNvSpPr>
            <p:nvPr userDrawn="1"/>
          </p:nvSpPr>
          <p:spPr bwMode="auto">
            <a:xfrm>
              <a:off x="311" y="2531"/>
              <a:ext cx="7584" cy="2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6" name="Line 210" hidden="1"/>
            <p:cNvSpPr>
              <a:spLocks noChangeShapeType="1"/>
            </p:cNvSpPr>
            <p:nvPr userDrawn="1"/>
          </p:nvSpPr>
          <p:spPr bwMode="auto">
            <a:xfrm>
              <a:off x="311" y="3067"/>
              <a:ext cx="7588" cy="2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7" name="Line 211" hidden="1"/>
            <p:cNvSpPr>
              <a:spLocks noChangeShapeType="1"/>
            </p:cNvSpPr>
            <p:nvPr userDrawn="1"/>
          </p:nvSpPr>
          <p:spPr bwMode="auto">
            <a:xfrm>
              <a:off x="311" y="3604"/>
              <a:ext cx="759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8" name="Line 212" hidden="1"/>
            <p:cNvSpPr>
              <a:spLocks noChangeShapeType="1"/>
            </p:cNvSpPr>
            <p:nvPr userDrawn="1"/>
          </p:nvSpPr>
          <p:spPr bwMode="auto">
            <a:xfrm>
              <a:off x="311" y="4144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9" name="Line 213" hidden="1"/>
            <p:cNvSpPr>
              <a:spLocks noChangeShapeType="1"/>
            </p:cNvSpPr>
            <p:nvPr userDrawn="1"/>
          </p:nvSpPr>
          <p:spPr bwMode="auto">
            <a:xfrm>
              <a:off x="293" y="4679"/>
              <a:ext cx="760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10" name="Line 214" hidden="1"/>
            <p:cNvSpPr>
              <a:spLocks noChangeShapeType="1"/>
            </p:cNvSpPr>
            <p:nvPr userDrawn="1"/>
          </p:nvSpPr>
          <p:spPr bwMode="auto">
            <a:xfrm>
              <a:off x="293" y="5216"/>
              <a:ext cx="7604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11" name="Line 215" hidden="1"/>
            <p:cNvSpPr>
              <a:spLocks noChangeShapeType="1"/>
            </p:cNvSpPr>
            <p:nvPr userDrawn="1"/>
          </p:nvSpPr>
          <p:spPr bwMode="auto">
            <a:xfrm>
              <a:off x="128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12" name="Line 216" hidden="1"/>
            <p:cNvSpPr>
              <a:spLocks noChangeShapeType="1"/>
            </p:cNvSpPr>
            <p:nvPr userDrawn="1"/>
          </p:nvSpPr>
          <p:spPr bwMode="auto">
            <a:xfrm>
              <a:off x="139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13" name="Line 217" hidden="1"/>
            <p:cNvSpPr>
              <a:spLocks noChangeShapeType="1"/>
            </p:cNvSpPr>
            <p:nvPr userDrawn="1"/>
          </p:nvSpPr>
          <p:spPr bwMode="auto">
            <a:xfrm>
              <a:off x="2383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14" name="Line 218" hidden="1"/>
            <p:cNvSpPr>
              <a:spLocks noChangeShapeType="1"/>
            </p:cNvSpPr>
            <p:nvPr userDrawn="1"/>
          </p:nvSpPr>
          <p:spPr bwMode="auto">
            <a:xfrm>
              <a:off x="2497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4315" name="Group 219" hidden="1"/>
            <p:cNvGrpSpPr>
              <a:grpSpLocks/>
            </p:cNvGrpSpPr>
            <p:nvPr userDrawn="1"/>
          </p:nvGrpSpPr>
          <p:grpSpPr bwMode="auto">
            <a:xfrm>
              <a:off x="3485" y="390"/>
              <a:ext cx="112" cy="5354"/>
              <a:chOff x="3485" y="390"/>
              <a:chExt cx="112" cy="5354"/>
            </a:xfrm>
          </p:grpSpPr>
          <p:sp>
            <p:nvSpPr>
              <p:cNvPr id="4316" name="Line 220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17" name="Line 221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318" name="Line 222" hidden="1"/>
            <p:cNvSpPr>
              <a:spLocks noChangeShapeType="1"/>
            </p:cNvSpPr>
            <p:nvPr userDrawn="1"/>
          </p:nvSpPr>
          <p:spPr bwMode="auto">
            <a:xfrm>
              <a:off x="4094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4319" name="Group 223" hidden="1"/>
            <p:cNvGrpSpPr>
              <a:grpSpLocks/>
            </p:cNvGrpSpPr>
            <p:nvPr userDrawn="1"/>
          </p:nvGrpSpPr>
          <p:grpSpPr bwMode="auto">
            <a:xfrm>
              <a:off x="4592" y="390"/>
              <a:ext cx="114" cy="5354"/>
              <a:chOff x="4592" y="390"/>
              <a:chExt cx="114" cy="5354"/>
            </a:xfrm>
          </p:grpSpPr>
          <p:sp>
            <p:nvSpPr>
              <p:cNvPr id="4320" name="Line 224" hidden="1"/>
              <p:cNvSpPr>
                <a:spLocks noChangeShapeType="1"/>
              </p:cNvSpPr>
              <p:nvPr userDrawn="1"/>
            </p:nvSpPr>
            <p:spPr bwMode="auto">
              <a:xfrm>
                <a:off x="4592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21" name="Line 225" hidden="1"/>
              <p:cNvSpPr>
                <a:spLocks noChangeShapeType="1"/>
              </p:cNvSpPr>
              <p:nvPr userDrawn="1"/>
            </p:nvSpPr>
            <p:spPr bwMode="auto">
              <a:xfrm>
                <a:off x="4706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322" name="Line 226" hidden="1"/>
            <p:cNvSpPr>
              <a:spLocks noChangeShapeType="1"/>
            </p:cNvSpPr>
            <p:nvPr userDrawn="1"/>
          </p:nvSpPr>
          <p:spPr bwMode="auto">
            <a:xfrm>
              <a:off x="5696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23" name="Line 227" hidden="1"/>
            <p:cNvSpPr>
              <a:spLocks noChangeShapeType="1"/>
            </p:cNvSpPr>
            <p:nvPr userDrawn="1"/>
          </p:nvSpPr>
          <p:spPr bwMode="auto">
            <a:xfrm>
              <a:off x="581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24" name="Line 228" hidden="1"/>
            <p:cNvSpPr>
              <a:spLocks noChangeShapeType="1"/>
            </p:cNvSpPr>
            <p:nvPr userDrawn="1"/>
          </p:nvSpPr>
          <p:spPr bwMode="auto">
            <a:xfrm>
              <a:off x="680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25" name="Line 229" hidden="1"/>
            <p:cNvSpPr>
              <a:spLocks noChangeShapeType="1"/>
            </p:cNvSpPr>
            <p:nvPr userDrawn="1"/>
          </p:nvSpPr>
          <p:spPr bwMode="auto">
            <a:xfrm>
              <a:off x="6914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4326" name="Group 230" hidden="1"/>
            <p:cNvGrpSpPr>
              <a:grpSpLocks/>
            </p:cNvGrpSpPr>
            <p:nvPr userDrawn="1"/>
          </p:nvGrpSpPr>
          <p:grpSpPr bwMode="auto">
            <a:xfrm>
              <a:off x="4038" y="390"/>
              <a:ext cx="112" cy="5354"/>
              <a:chOff x="3485" y="390"/>
              <a:chExt cx="112" cy="5354"/>
            </a:xfrm>
          </p:grpSpPr>
          <p:sp>
            <p:nvSpPr>
              <p:cNvPr id="4327" name="Line 231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28" name="Line 232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357" name="shpContentSlideFooter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A0AF46FE-DA41-4412-A037-4E46054E11E8}" type="datetime4">
              <a:rPr lang="en-US"/>
              <a:pPr/>
              <a:t>February 10, 2014</a:t>
            </a:fld>
            <a:r>
              <a:rPr lang="en-US"/>
              <a:t> | Slide </a:t>
            </a:r>
            <a:fld id="{BDAAC705-01BD-4AF6-99C5-E86398BFD6A7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4362" name="Picture 266" descr="ABB2logo 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1525" y="6392863"/>
            <a:ext cx="1795463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5" descr="04_I_sr coverAi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214313"/>
            <a:ext cx="8710613" cy="363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430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38670B4D-1912-4445-8473-2A3249A2F1F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0044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215900" y="1592263"/>
            <a:ext cx="4284663" cy="460851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2"/>
          </p:nvPr>
        </p:nvSpPr>
        <p:spPr>
          <a:xfrm>
            <a:off x="4643439" y="1592263"/>
            <a:ext cx="4284662" cy="460851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3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277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ar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2"/>
          <p:cNvSpPr>
            <a:spLocks noGrp="1"/>
          </p:cNvSpPr>
          <p:nvPr>
            <p:ph sz="quarter" idx="15"/>
          </p:nvPr>
        </p:nvSpPr>
        <p:spPr>
          <a:xfrm>
            <a:off x="1476375" y="2162175"/>
            <a:ext cx="7451725" cy="4038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1476375" y="1581149"/>
            <a:ext cx="7451725" cy="581025"/>
          </a:xfrm>
        </p:spPr>
        <p:txBody>
          <a:bodyPr>
            <a:normAutofit/>
          </a:bodyPr>
          <a:lstStyle>
            <a:lvl1pPr marL="179388" marR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4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3"/>
          </p:nvPr>
        </p:nvSpPr>
        <p:spPr>
          <a:xfrm>
            <a:off x="215900" y="1592263"/>
            <a:ext cx="1116013" cy="4608512"/>
          </a:xfrm>
        </p:spPr>
        <p:txBody>
          <a:bodyPr vert="horz" lIns="0" tIns="36000" rIns="0" bIns="0" numCol="1" spcCol="396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lang="de-DE" sz="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02326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movie 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0" y="1592262"/>
            <a:ext cx="9144000" cy="5265737"/>
          </a:xfrm>
          <a:solidFill>
            <a:schemeClr val="bg2"/>
          </a:solidFill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9144000" cy="1592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72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movie 4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0" y="0"/>
            <a:ext cx="9144000" cy="6857999"/>
          </a:xfrm>
          <a:solidFill>
            <a:schemeClr val="bg2"/>
          </a:solidFill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3165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7667625" y="6200775"/>
            <a:ext cx="1476375" cy="6572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180975" algn="ctr">
              <a:buClr>
                <a:srgbClr val="005ADE"/>
              </a:buClr>
              <a:buFont typeface="Wingdings" pitchFamily="2" charset="2"/>
              <a:buChar char="§"/>
            </a:pPr>
            <a:endParaRPr lang="de-DE" dirty="0" smtClean="0">
              <a:solidFill>
                <a:srgbClr val="000000"/>
              </a:solidFill>
            </a:endParaRPr>
          </a:p>
        </p:txBody>
      </p:sp>
      <p:grpSp>
        <p:nvGrpSpPr>
          <p:cNvPr id="5122" name="Group 2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5123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43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pic>
          <p:nvPicPr>
            <p:cNvPr id="5124" name="Picture 4" descr="ABB1ClaimL_rgb300_100mmLIGHT Kopie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67" y="1660"/>
              <a:ext cx="5031" cy="743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277089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3616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  <a:p>
            <a:r>
              <a:rPr lang="en-US">
                <a:solidFill>
                  <a:srgbClr val="000000"/>
                </a:solidFill>
              </a:rPr>
              <a:t>© ABB Group </a:t>
            </a:r>
          </a:p>
          <a:p>
            <a:fld id="{79F8C307-A549-4E06-945A-D91EE101E90F}" type="datetime4">
              <a:rPr lang="en-US">
                <a:solidFill>
                  <a:srgbClr val="000000"/>
                </a:solidFill>
              </a:rPr>
              <a:pPr/>
              <a:t>February 10, 2014</a:t>
            </a:fld>
            <a:r>
              <a:rPr lang="en-US">
                <a:solidFill>
                  <a:srgbClr val="000000"/>
                </a:solidFill>
              </a:rPr>
              <a:t> | Slide </a:t>
            </a:r>
            <a:fld id="{8BA95CFA-58C5-4001-88EF-952AB8477F2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4934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2007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200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C7BA6E6B-7D83-4704-B9B6-CC24D834EB0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363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476375" y="1592263"/>
            <a:ext cx="6191250" cy="4608512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15900" y="6200775"/>
            <a:ext cx="2808288" cy="657225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F9C6F1C0-3376-477A-8CCD-F8CCBA70F7F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322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476375" y="1592263"/>
            <a:ext cx="6191250" cy="4608512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15900" y="6200775"/>
            <a:ext cx="2808288" cy="657225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FAA6AF1F-6D5D-410B-874B-8D71CE044B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0831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8600" y="334963"/>
            <a:ext cx="8686800" cy="116681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SmartArt-Platzhalter 2"/>
          <p:cNvSpPr>
            <a:spLocks noGrp="1"/>
          </p:cNvSpPr>
          <p:nvPr>
            <p:ph type="dgm" idx="1"/>
          </p:nvPr>
        </p:nvSpPr>
        <p:spPr>
          <a:xfrm>
            <a:off x="1484313" y="1555750"/>
            <a:ext cx="6170612" cy="4616450"/>
          </a:xfrm>
        </p:spPr>
        <p:txBody>
          <a:bodyPr rtlCol="0">
            <a:normAutofit/>
          </a:bodyPr>
          <a:lstStyle/>
          <a:p>
            <a:pPr lvl="0"/>
            <a:endParaRPr lang="de-CH" noProof="0"/>
          </a:p>
        </p:txBody>
      </p:sp>
      <p:sp>
        <p:nvSpPr>
          <p:cNvPr id="4" name="Fußzeilenplatzhalter 4"/>
          <p:cNvSpPr>
            <a:spLocks noGrp="1"/>
          </p:cNvSpPr>
          <p:nvPr userDrawn="1">
            <p:ph type="ftr" sz="quarter" idx="10"/>
          </p:nvPr>
        </p:nvSpPr>
        <p:spPr>
          <a:xfrm>
            <a:off x="215900" y="6200775"/>
            <a:ext cx="1116013" cy="468313"/>
          </a:xfrm>
        </p:spPr>
        <p:txBody>
          <a:bodyPr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© ABB Group </a:t>
            </a:r>
          </a:p>
          <a:p>
            <a:pPr>
              <a:defRPr/>
            </a:pPr>
            <a:fld id="{91C9E82D-D632-4DDD-BBE5-24649760784D}" type="datetime4">
              <a:rPr lang="en-US">
                <a:solidFill>
                  <a:srgbClr val="000000"/>
                </a:solidFill>
              </a:rPr>
              <a:pPr>
                <a:defRPr/>
              </a:pPr>
              <a:t>February 10, 2014</a:t>
            </a:fld>
            <a:r>
              <a:rPr lang="en-US">
                <a:solidFill>
                  <a:srgbClr val="000000"/>
                </a:solidFill>
              </a:rPr>
              <a:t> | Slide </a:t>
            </a:r>
            <a:fld id="{F9CB5F9A-3611-46B8-AC5C-CD61672798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515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9018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15900" y="1592263"/>
            <a:ext cx="8712200" cy="46085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446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15900" y="1592263"/>
            <a:ext cx="4139026" cy="46085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4" y="1592263"/>
            <a:ext cx="4139026" cy="46085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785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15900" y="1592263"/>
            <a:ext cx="4139026" cy="46085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277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215900" y="1592263"/>
            <a:ext cx="8712200" cy="46085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2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45700" lvl="0" indent="-247031" algn="l" defTabSz="892778" rtl="0" eaLnBrk="1" fontAlgn="base" latinLnBrk="0" hangingPunct="1">
              <a:lnSpc>
                <a:spcPct val="150000"/>
              </a:lnSpc>
              <a:spcBef>
                <a:spcPts val="546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364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60BC8438-1A55-4F0B-9660-EF1F784D4D0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0694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789073" y="1592262"/>
            <a:ext cx="4139026" cy="4608512"/>
          </a:xfrm>
          <a:prstGeom prst="rect">
            <a:avLst/>
          </a:prstGeom>
        </p:spPr>
        <p:txBody>
          <a:bodyPr>
            <a:normAutofit/>
          </a:bodyPr>
          <a:lstStyle>
            <a:lvl1pPr marL="247031" indent="-247031" algn="l" defTabSz="892778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15900" y="1592263"/>
            <a:ext cx="4139026" cy="46085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948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4313" y="225425"/>
            <a:ext cx="8713787" cy="6419850"/>
            <a:chOff x="214313" y="225425"/>
            <a:chExt cx="8713787" cy="6419850"/>
          </a:xfrm>
        </p:grpSpPr>
        <p:sp>
          <p:nvSpPr>
            <p:cNvPr id="20" name="Rechteck 7"/>
            <p:cNvSpPr/>
            <p:nvPr userDrawn="1"/>
          </p:nvSpPr>
          <p:spPr>
            <a:xfrm>
              <a:off x="215900" y="225425"/>
              <a:ext cx="8712200" cy="597535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3014"/>
              <a:endParaRPr lang="de-DE" sz="1700" dirty="0">
                <a:solidFill>
                  <a:srgbClr val="FFFFFF"/>
                </a:solidFill>
              </a:endParaRPr>
            </a:p>
          </p:txBody>
        </p:sp>
        <p:pic>
          <p:nvPicPr>
            <p:cNvPr id="1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14313" y="225425"/>
              <a:ext cx="8713787" cy="3602038"/>
            </a:xfrm>
            <a:prstGeom prst="rect">
              <a:avLst/>
            </a:prstGeom>
            <a:noFill/>
          </p:spPr>
        </p:pic>
        <p:pic>
          <p:nvPicPr>
            <p:cNvPr id="21" name="Picture 3" descr="ABB2logo RGB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121525" y="6392863"/>
              <a:ext cx="1795463" cy="252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900" y="4181485"/>
            <a:ext cx="8712200" cy="2019288"/>
          </a:xfrm>
          <a:prstGeom prst="rect">
            <a:avLst/>
          </a:prstGeom>
        </p:spPr>
        <p:txBody>
          <a:bodyPr lIns="144000" tIns="0" rIns="0" bIns="0" anchor="t" anchorCtr="0">
            <a:noAutofit/>
          </a:bodyPr>
          <a:lstStyle>
            <a:lvl1pPr>
              <a:defRPr sz="4000" b="0"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5900" y="4740195"/>
            <a:ext cx="8712200" cy="1460580"/>
          </a:xfrm>
          <a:prstGeom prst="rect">
            <a:avLst/>
          </a:prstGeom>
        </p:spPr>
        <p:txBody>
          <a:bodyPr lIns="144000" tIns="0" rIns="0" bIns="0">
            <a:normAutofit/>
          </a:bodyPr>
          <a:lstStyle>
            <a:lvl1pPr marL="0" indent="0" algn="l">
              <a:buNone/>
              <a:defRPr sz="4000" b="0">
                <a:solidFill>
                  <a:schemeClr val="accent3"/>
                </a:solidFill>
              </a:defRPr>
            </a:lvl1pPr>
            <a:lvl2pPr marL="446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30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9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6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2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5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72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248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550429" y="2121280"/>
            <a:ext cx="4623292" cy="1769127"/>
          </a:xfrm>
          <a:prstGeom prst="rect">
            <a:avLst/>
          </a:prstGeom>
        </p:spPr>
        <p:txBody>
          <a:bodyPr>
            <a:noAutofit/>
          </a:bodyPr>
          <a:lstStyle>
            <a:lvl1pPr marL="245700">
              <a:lnSpc>
                <a:spcPct val="150000"/>
              </a:lnSpc>
              <a:spcBef>
                <a:spcPts val="546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lang="en-US" sz="18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45700" lvl="0" indent="-247031" algn="l" defTabSz="892778" rtl="0" eaLnBrk="1" fontAlgn="base" hangingPunct="1">
              <a:lnSpc>
                <a:spcPct val="150000"/>
              </a:lnSpc>
              <a:spcBef>
                <a:spcPts val="546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</a:pPr>
            <a:r>
              <a:rPr lang="en-US" dirty="0" smtClean="0"/>
              <a:t>First level bullet</a:t>
            </a:r>
          </a:p>
          <a:p>
            <a:pPr marL="245700" lvl="0" indent="-247031" algn="l" defTabSz="892778" rtl="0" eaLnBrk="1" fontAlgn="base" hangingPunct="1">
              <a:lnSpc>
                <a:spcPct val="150000"/>
              </a:lnSpc>
              <a:spcBef>
                <a:spcPts val="546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</a:pPr>
            <a:r>
              <a:rPr lang="en-US" dirty="0" smtClean="0"/>
              <a:t>First level bullet</a:t>
            </a:r>
          </a:p>
          <a:p>
            <a:pPr marL="245700" lvl="0" indent="-247031" algn="l" defTabSz="892778" rtl="0" eaLnBrk="1" fontAlgn="base" hangingPunct="1">
              <a:lnSpc>
                <a:spcPct val="150000"/>
              </a:lnSpc>
              <a:spcBef>
                <a:spcPts val="546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</a:pPr>
            <a:r>
              <a:rPr lang="en-US" dirty="0" smtClean="0"/>
              <a:t>First level bullet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911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Number"/>
          <p:cNvSpPr>
            <a:spLocks/>
          </p:cNvSpPr>
          <p:nvPr userDrawn="1"/>
        </p:nvSpPr>
        <p:spPr>
          <a:xfrm>
            <a:off x="943719" y="6569117"/>
            <a:ext cx="448518" cy="10887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1605" rIns="0" bIns="41605" rtlCol="0" anchor="ctr"/>
          <a:lstStyle/>
          <a:p>
            <a:pPr defTabSz="893014"/>
            <a:r>
              <a:rPr lang="en-US" sz="600" dirty="0">
                <a:solidFill>
                  <a:srgbClr val="666666"/>
                </a:solidFill>
              </a:rPr>
              <a:t>Slide </a:t>
            </a:r>
            <a:fld id="{BB69BBE8-4DB2-4642-B003-B220ACD5A2FD}" type="slidenum">
              <a:rPr lang="en-US" sz="600">
                <a:solidFill>
                  <a:srgbClr val="666666"/>
                </a:solidFill>
              </a:rPr>
              <a:pPr defTabSz="893014"/>
              <a:t>‹#›</a:t>
            </a:fld>
            <a:endParaRPr lang="fr-FR" sz="600" dirty="0">
              <a:solidFill>
                <a:srgbClr val="666666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09710" y="6469015"/>
            <a:ext cx="466474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893014"/>
            <a:r>
              <a:rPr lang="en-US" sz="600" dirty="0">
                <a:solidFill>
                  <a:srgbClr val="666666"/>
                </a:solidFill>
              </a:rPr>
              <a:t>© ABB Group</a:t>
            </a:r>
            <a:endParaRPr lang="de-DE" sz="600" dirty="0">
              <a:solidFill>
                <a:srgbClr val="666666"/>
              </a:solidFill>
            </a:endParaRPr>
          </a:p>
        </p:txBody>
      </p:sp>
      <p:sp>
        <p:nvSpPr>
          <p:cNvPr id="4" name="Text Placeholder 3"/>
          <p:cNvSpPr txBox="1">
            <a:spLocks/>
          </p:cNvSpPr>
          <p:nvPr userDrawn="1"/>
        </p:nvSpPr>
        <p:spPr>
          <a:xfrm>
            <a:off x="215900" y="6577027"/>
            <a:ext cx="679673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buFontTx/>
              <a:buNone/>
              <a:defRPr sz="600">
                <a:solidFill>
                  <a:schemeClr val="bg2"/>
                </a:solidFill>
              </a:defRPr>
            </a:lvl1pPr>
          </a:lstStyle>
          <a:p>
            <a:pPr marL="247031" indent="-247031" defTabSz="892778" fontAlgn="base">
              <a:spcBef>
                <a:spcPct val="40000"/>
              </a:spcBef>
              <a:spcAft>
                <a:spcPct val="0"/>
              </a:spcAft>
              <a:buClr>
                <a:srgbClr val="002897"/>
              </a:buClr>
              <a:buSzPct val="70000"/>
              <a:defRPr/>
            </a:pPr>
            <a:fld id="{417C9F73-7460-4F55-A061-3AA942458811}" type="datetime4">
              <a:rPr lang="en-US" altLang="zh-CN" noProof="1" smtClean="0">
                <a:solidFill>
                  <a:srgbClr val="666666"/>
                </a:solidFill>
              </a:rPr>
              <a:pPr marL="247031" indent="-247031" defTabSz="892778" fontAlgn="base">
                <a:spcBef>
                  <a:spcPct val="4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defRPr/>
              </a:pPr>
              <a:t>February 10, 2014</a:t>
            </a:fld>
            <a:endParaRPr lang="de-DE" altLang="zh-CN" noProof="1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47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322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475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0"/>
          <p:cNvSpPr>
            <a:spLocks noChangeArrowheads="1"/>
          </p:cNvSpPr>
          <p:nvPr/>
        </p:nvSpPr>
        <p:spPr bwMode="auto">
          <a:xfrm>
            <a:off x="215900" y="223838"/>
            <a:ext cx="8712200" cy="597693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002897"/>
              </a:buClr>
              <a:buSzPct val="70000"/>
              <a:buFont typeface="Wingdings" pitchFamily="2" charset="2"/>
              <a:buChar char="§"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" name="shpGridNormal" hidden="1"/>
          <p:cNvGrpSpPr>
            <a:grpSpLocks/>
          </p:cNvGrpSpPr>
          <p:nvPr/>
        </p:nvGrpSpPr>
        <p:grpSpPr bwMode="auto">
          <a:xfrm>
            <a:off x="325438" y="434975"/>
            <a:ext cx="8496300" cy="5983288"/>
            <a:chOff x="292" y="389"/>
            <a:chExt cx="7611" cy="5361"/>
          </a:xfrm>
        </p:grpSpPr>
        <p:sp>
          <p:nvSpPr>
            <p:cNvPr id="6" name="Rectangle 205" hidden="1"/>
            <p:cNvSpPr>
              <a:spLocks noChangeArrowheads="1"/>
            </p:cNvSpPr>
            <p:nvPr userDrawn="1"/>
          </p:nvSpPr>
          <p:spPr bwMode="auto">
            <a:xfrm>
              <a:off x="292" y="389"/>
              <a:ext cx="7610" cy="5361"/>
            </a:xfrm>
            <a:prstGeom prst="rect">
              <a:avLst/>
            </a:prstGeom>
            <a:noFill/>
            <a:ln w="19050">
              <a:solidFill>
                <a:srgbClr val="8BA2B2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6429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 dirty="0">
                <a:solidFill>
                  <a:srgbClr val="000000"/>
                </a:solidFill>
              </a:endParaRPr>
            </a:p>
          </p:txBody>
        </p:sp>
        <p:sp>
          <p:nvSpPr>
            <p:cNvPr id="7" name="Line 206" hidden="1"/>
            <p:cNvSpPr>
              <a:spLocks noChangeShapeType="1"/>
            </p:cNvSpPr>
            <p:nvPr userDrawn="1"/>
          </p:nvSpPr>
          <p:spPr bwMode="auto">
            <a:xfrm>
              <a:off x="310" y="927"/>
              <a:ext cx="756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207" hidden="1"/>
            <p:cNvSpPr>
              <a:spLocks noChangeShapeType="1"/>
            </p:cNvSpPr>
            <p:nvPr userDrawn="1"/>
          </p:nvSpPr>
          <p:spPr bwMode="auto">
            <a:xfrm>
              <a:off x="310" y="1460"/>
              <a:ext cx="7593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" name="Line 208" hidden="1"/>
            <p:cNvSpPr>
              <a:spLocks noChangeShapeType="1"/>
            </p:cNvSpPr>
            <p:nvPr userDrawn="1"/>
          </p:nvSpPr>
          <p:spPr bwMode="auto">
            <a:xfrm>
              <a:off x="310" y="2002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" name="Line 209" hidden="1"/>
            <p:cNvSpPr>
              <a:spLocks noChangeShapeType="1"/>
            </p:cNvSpPr>
            <p:nvPr userDrawn="1"/>
          </p:nvSpPr>
          <p:spPr bwMode="auto">
            <a:xfrm>
              <a:off x="310" y="2531"/>
              <a:ext cx="7584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" name="Line 210" hidden="1"/>
            <p:cNvSpPr>
              <a:spLocks noChangeShapeType="1"/>
            </p:cNvSpPr>
            <p:nvPr userDrawn="1"/>
          </p:nvSpPr>
          <p:spPr bwMode="auto">
            <a:xfrm>
              <a:off x="310" y="3067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" name="Line 211" hidden="1"/>
            <p:cNvSpPr>
              <a:spLocks noChangeShapeType="1"/>
            </p:cNvSpPr>
            <p:nvPr userDrawn="1"/>
          </p:nvSpPr>
          <p:spPr bwMode="auto">
            <a:xfrm>
              <a:off x="310" y="3604"/>
              <a:ext cx="7593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Line 212" hidden="1"/>
            <p:cNvSpPr>
              <a:spLocks noChangeShapeType="1"/>
            </p:cNvSpPr>
            <p:nvPr userDrawn="1"/>
          </p:nvSpPr>
          <p:spPr bwMode="auto">
            <a:xfrm>
              <a:off x="310" y="4144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" name="Line 213" hidden="1"/>
            <p:cNvSpPr>
              <a:spLocks noChangeShapeType="1"/>
            </p:cNvSpPr>
            <p:nvPr userDrawn="1"/>
          </p:nvSpPr>
          <p:spPr bwMode="auto">
            <a:xfrm>
              <a:off x="293" y="4679"/>
              <a:ext cx="7601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Line 214" hidden="1"/>
            <p:cNvSpPr>
              <a:spLocks noChangeShapeType="1"/>
            </p:cNvSpPr>
            <p:nvPr userDrawn="1"/>
          </p:nvSpPr>
          <p:spPr bwMode="auto">
            <a:xfrm>
              <a:off x="293" y="5217"/>
              <a:ext cx="7604" cy="0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Line 215" hidden="1"/>
            <p:cNvSpPr>
              <a:spLocks noChangeShapeType="1"/>
            </p:cNvSpPr>
            <p:nvPr userDrawn="1"/>
          </p:nvSpPr>
          <p:spPr bwMode="auto">
            <a:xfrm>
              <a:off x="128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Line 216" hidden="1"/>
            <p:cNvSpPr>
              <a:spLocks noChangeShapeType="1"/>
            </p:cNvSpPr>
            <p:nvPr userDrawn="1"/>
          </p:nvSpPr>
          <p:spPr bwMode="auto">
            <a:xfrm>
              <a:off x="139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" name="Line 217" hidden="1"/>
            <p:cNvSpPr>
              <a:spLocks noChangeShapeType="1"/>
            </p:cNvSpPr>
            <p:nvPr userDrawn="1"/>
          </p:nvSpPr>
          <p:spPr bwMode="auto">
            <a:xfrm>
              <a:off x="2382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" name="Line 218" hidden="1"/>
            <p:cNvSpPr>
              <a:spLocks noChangeShapeType="1"/>
            </p:cNvSpPr>
            <p:nvPr userDrawn="1"/>
          </p:nvSpPr>
          <p:spPr bwMode="auto">
            <a:xfrm>
              <a:off x="2498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219" hidden="1"/>
            <p:cNvGrpSpPr>
              <a:grpSpLocks/>
            </p:cNvGrpSpPr>
            <p:nvPr userDrawn="1"/>
          </p:nvGrpSpPr>
          <p:grpSpPr bwMode="auto">
            <a:xfrm>
              <a:off x="3485" y="390"/>
              <a:ext cx="112" cy="5354"/>
              <a:chOff x="3485" y="390"/>
              <a:chExt cx="112" cy="5354"/>
            </a:xfrm>
          </p:grpSpPr>
          <p:sp>
            <p:nvSpPr>
              <p:cNvPr id="32" name="Line 220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Line 221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Line 222" hidden="1"/>
            <p:cNvSpPr>
              <a:spLocks noChangeShapeType="1"/>
            </p:cNvSpPr>
            <p:nvPr userDrawn="1"/>
          </p:nvSpPr>
          <p:spPr bwMode="auto">
            <a:xfrm>
              <a:off x="4095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" name="Group 223" hidden="1"/>
            <p:cNvGrpSpPr>
              <a:grpSpLocks/>
            </p:cNvGrpSpPr>
            <p:nvPr userDrawn="1"/>
          </p:nvGrpSpPr>
          <p:grpSpPr bwMode="auto">
            <a:xfrm>
              <a:off x="4592" y="390"/>
              <a:ext cx="114" cy="5354"/>
              <a:chOff x="4592" y="390"/>
              <a:chExt cx="114" cy="5354"/>
            </a:xfrm>
          </p:grpSpPr>
          <p:sp>
            <p:nvSpPr>
              <p:cNvPr id="30" name="Line 224" hidden="1"/>
              <p:cNvSpPr>
                <a:spLocks noChangeShapeType="1"/>
              </p:cNvSpPr>
              <p:nvPr userDrawn="1"/>
            </p:nvSpPr>
            <p:spPr bwMode="auto">
              <a:xfrm>
                <a:off x="4592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Line 225" hidden="1"/>
              <p:cNvSpPr>
                <a:spLocks noChangeShapeType="1"/>
              </p:cNvSpPr>
              <p:nvPr userDrawn="1"/>
            </p:nvSpPr>
            <p:spPr bwMode="auto">
              <a:xfrm>
                <a:off x="4706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3" name="Line 226" hidden="1"/>
            <p:cNvSpPr>
              <a:spLocks noChangeShapeType="1"/>
            </p:cNvSpPr>
            <p:nvPr userDrawn="1"/>
          </p:nvSpPr>
          <p:spPr bwMode="auto">
            <a:xfrm>
              <a:off x="5696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" name="Line 227" hidden="1"/>
            <p:cNvSpPr>
              <a:spLocks noChangeShapeType="1"/>
            </p:cNvSpPr>
            <p:nvPr userDrawn="1"/>
          </p:nvSpPr>
          <p:spPr bwMode="auto">
            <a:xfrm>
              <a:off x="581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" name="Line 228" hidden="1"/>
            <p:cNvSpPr>
              <a:spLocks noChangeShapeType="1"/>
            </p:cNvSpPr>
            <p:nvPr userDrawn="1"/>
          </p:nvSpPr>
          <p:spPr bwMode="auto">
            <a:xfrm>
              <a:off x="6799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" name="Line 229" hidden="1"/>
            <p:cNvSpPr>
              <a:spLocks noChangeShapeType="1"/>
            </p:cNvSpPr>
            <p:nvPr userDrawn="1"/>
          </p:nvSpPr>
          <p:spPr bwMode="auto">
            <a:xfrm>
              <a:off x="6915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20" name="Group 230" hidden="1"/>
            <p:cNvGrpSpPr>
              <a:grpSpLocks/>
            </p:cNvGrpSpPr>
            <p:nvPr userDrawn="1"/>
          </p:nvGrpSpPr>
          <p:grpSpPr bwMode="auto">
            <a:xfrm>
              <a:off x="4038" y="390"/>
              <a:ext cx="112" cy="5354"/>
              <a:chOff x="3485" y="390"/>
              <a:chExt cx="112" cy="5354"/>
            </a:xfrm>
          </p:grpSpPr>
          <p:sp>
            <p:nvSpPr>
              <p:cNvPr id="28" name="Line 231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Line 232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34" name="Picture 268" descr="ABB2logo 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21525" y="6392863"/>
            <a:ext cx="1795463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30" name="Rectangle 34"/>
          <p:cNvSpPr>
            <a:spLocks noGrp="1" noChangeArrowheads="1"/>
          </p:cNvSpPr>
          <p:nvPr>
            <p:ph type="ctrTitle"/>
          </p:nvPr>
        </p:nvSpPr>
        <p:spPr>
          <a:xfrm>
            <a:off x="215900" y="4184650"/>
            <a:ext cx="8712200" cy="2016125"/>
          </a:xfrm>
        </p:spPr>
        <p:txBody>
          <a:bodyPr lIns="144000" tIns="0" rIns="0"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/>
              <a:t>Mastertitelformat bearbeiten</a:t>
            </a:r>
          </a:p>
        </p:txBody>
      </p:sp>
      <p:sp>
        <p:nvSpPr>
          <p:cNvPr id="4138" name="Rectangle 4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15900" y="3968750"/>
            <a:ext cx="8712200" cy="215900"/>
          </a:xfrm>
        </p:spPr>
        <p:txBody>
          <a:bodyPr lIns="169200"/>
          <a:lstStyle>
            <a:lvl1pPr marL="0" indent="0">
              <a:buFont typeface="Wingdings" pitchFamily="2" charset="2"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CH"/>
              <a:t>Master-Untertitelformat bearbeiten</a:t>
            </a:r>
          </a:p>
        </p:txBody>
      </p:sp>
      <p:sp>
        <p:nvSpPr>
          <p:cNvPr id="35" name="shpContentSlideFooter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B76A88BF-3193-4953-A796-BA246EF6A9EA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1C036CAA-7CCE-4403-B1AC-1092C82BC79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9748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959D36BA-AC0D-4B75-BAD7-3FED2127126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2320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C5635DD9-4A5A-49DD-9737-8733274F95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7299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76375" y="1592263"/>
            <a:ext cx="3019425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92263"/>
            <a:ext cx="3019425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56F48E1E-3076-463A-B5CD-73C7031150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5322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2FC8D8FA-D995-480C-BCCE-6B36D8BAC16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8300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F1B1384E-D8C6-454D-A073-8018CB16B05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8485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BEAD5285-FB8C-4B5F-A8F9-3872F9835EF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3795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6D097828-CCE6-4C73-BC89-83F7B655B8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5205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E1C4AA86-DE91-4367-8260-B3EF89A476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7407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63BC8DB0-F6DB-4C9F-BA61-6F529D8C4C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4653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05E46783-227C-4642-87CC-2065CD4D443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8014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2007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200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E406B12F-1E34-406C-9385-E06753AC6E6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0632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476375" y="1592263"/>
            <a:ext cx="3019425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92263"/>
            <a:ext cx="3019425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© ABB Group </a:t>
            </a:r>
          </a:p>
          <a:p>
            <a:pPr>
              <a:defRPr/>
            </a:pPr>
            <a:fld id="{53AA0439-D829-4C0C-9870-16EB80BBE585}" type="datetime4">
              <a:rPr lang="en-US"/>
              <a:pPr>
                <a:defRPr/>
              </a:pPr>
              <a:t>February 10, 2014</a:t>
            </a:fld>
            <a:r>
              <a:rPr lang="en-US" dirty="0"/>
              <a:t> | Slide </a:t>
            </a:r>
            <a:fld id="{1B1D4B2A-7AD9-415E-BE2D-B80709D408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3471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8928100" cy="11274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0" y="1592263"/>
            <a:ext cx="8712200" cy="460851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5899" y="6200776"/>
            <a:ext cx="2374901" cy="657224"/>
          </a:xfrm>
          <a:prstGeom prst="rect">
            <a:avLst/>
          </a:prstGeom>
        </p:spPr>
        <p:txBody>
          <a:bodyPr lIns="0" tIns="0" rIns="0" bIns="198000" anchor="b" anchorCtr="0"/>
          <a:lstStyle/>
          <a:p>
            <a:endParaRPr lang="en-US" sz="600" dirty="0">
              <a:solidFill>
                <a:srgbClr val="000000"/>
              </a:solidFill>
              <a:cs typeface="Arial" pitchFamily="34" charset="0"/>
            </a:endParaRPr>
          </a:p>
          <a:p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© ABB Group</a:t>
            </a:r>
            <a:endParaRPr lang="de-DE" sz="600" dirty="0">
              <a:solidFill>
                <a:srgbClr val="000000"/>
              </a:solidFill>
              <a:cs typeface="Arial" pitchFamily="34" charset="0"/>
            </a:endParaRPr>
          </a:p>
          <a:p>
            <a:fld id="{CFB884F6-5C41-4F29-A188-5B766EEA4B94}" type="datetime4">
              <a:rPr lang="en-US" sz="600">
                <a:solidFill>
                  <a:srgbClr val="000000"/>
                </a:solidFill>
                <a:cs typeface="Arial" pitchFamily="34" charset="0"/>
              </a:rPr>
              <a:pPr/>
              <a:t>February 10, 2014</a:t>
            </a:fld>
            <a:r>
              <a:rPr lang="de-DE" sz="6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| Slide </a:t>
            </a:r>
            <a:fld id="{034DB2BE-7F3D-443E-9208-5F2182A8E656}" type="slidenum">
              <a:rPr lang="de-DE" sz="600">
                <a:solidFill>
                  <a:srgbClr val="000000"/>
                </a:solidFill>
                <a:cs typeface="Arial" pitchFamily="34" charset="0"/>
              </a:rPr>
              <a:pPr/>
              <a:t>‹#›</a:t>
            </a:fld>
            <a:endParaRPr lang="de-DE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0" y="660363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800" kern="1200" dirty="0" smtClean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325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2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476374" y="1592263"/>
            <a:ext cx="6191251" cy="4608512"/>
          </a:xfrm>
        </p:spPr>
        <p:txBody>
          <a:bodyPr>
            <a:normAutofit/>
          </a:bodyPr>
          <a:lstStyle>
            <a:lvl1pPr marL="179388" indent="-179388"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11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indent="0">
              <a:buClr>
                <a:schemeClr val="accent2"/>
              </a:buClr>
              <a:buFont typeface="+mj-lt"/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5899" y="6200776"/>
            <a:ext cx="2374901" cy="657224"/>
          </a:xfrm>
          <a:prstGeom prst="rect">
            <a:avLst/>
          </a:prstGeom>
        </p:spPr>
        <p:txBody>
          <a:bodyPr lIns="0" tIns="0" rIns="0" bIns="198000" anchor="b" anchorCtr="0"/>
          <a:lstStyle/>
          <a:p>
            <a:endParaRPr lang="en-US" sz="600" dirty="0">
              <a:solidFill>
                <a:srgbClr val="000000"/>
              </a:solidFill>
              <a:cs typeface="Arial" pitchFamily="34" charset="0"/>
            </a:endParaRPr>
          </a:p>
          <a:p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© ABB Group</a:t>
            </a:r>
            <a:endParaRPr lang="de-DE" sz="600" dirty="0">
              <a:solidFill>
                <a:srgbClr val="000000"/>
              </a:solidFill>
              <a:cs typeface="Arial" pitchFamily="34" charset="0"/>
            </a:endParaRPr>
          </a:p>
          <a:p>
            <a:fld id="{CFB884F6-5C41-4F29-A188-5B766EEA4B94}" type="datetime4">
              <a:rPr lang="en-US" sz="600">
                <a:solidFill>
                  <a:srgbClr val="000000"/>
                </a:solidFill>
                <a:cs typeface="Arial" pitchFamily="34" charset="0"/>
              </a:rPr>
              <a:pPr/>
              <a:t>February 10, 2014</a:t>
            </a:fld>
            <a:r>
              <a:rPr lang="de-DE" sz="6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| </a:t>
            </a:r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Slide </a:t>
            </a:r>
            <a:fld id="{034DB2BE-7F3D-443E-9208-5F2182A8E656}" type="slidenum">
              <a:rPr lang="de-DE" sz="600">
                <a:solidFill>
                  <a:srgbClr val="000000"/>
                </a:solidFill>
                <a:cs typeface="Arial" pitchFamily="34" charset="0"/>
              </a:rPr>
              <a:pPr/>
              <a:t>‹#›</a:t>
            </a:fld>
            <a:endParaRPr lang="de-DE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0" y="660363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800" kern="1200" dirty="0" smtClean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2615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76375" y="1592263"/>
            <a:ext cx="3019425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92263"/>
            <a:ext cx="3019425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6B994B2E-B9D7-488F-8D75-A20D0C9CC05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0957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efaul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pic>
        <p:nvPicPr>
          <p:cNvPr id="2051" name="Picture 3" descr="ABB2logo RGB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21525" y="6392863"/>
            <a:ext cx="1795463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14313" y="225425"/>
            <a:ext cx="8713787" cy="3602038"/>
          </a:xfrm>
          <a:prstGeom prst="rect">
            <a:avLst/>
          </a:prstGeom>
          <a:noFill/>
        </p:spPr>
      </p:pic>
      <p:sp>
        <p:nvSpPr>
          <p:cNvPr id="14" name="Titel 1"/>
          <p:cNvSpPr>
            <a:spLocks noGrp="1"/>
          </p:cNvSpPr>
          <p:nvPr>
            <p:ph type="ctrTitle"/>
          </p:nvPr>
        </p:nvSpPr>
        <p:spPr>
          <a:xfrm>
            <a:off x="215900" y="4181485"/>
            <a:ext cx="8712200" cy="2019289"/>
          </a:xfrm>
        </p:spPr>
        <p:txBody>
          <a:bodyPr lIns="14400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5" name="Untertitel 2"/>
          <p:cNvSpPr>
            <a:spLocks noGrp="1"/>
          </p:cNvSpPr>
          <p:nvPr>
            <p:ph type="subTitle" idx="1"/>
          </p:nvPr>
        </p:nvSpPr>
        <p:spPr>
          <a:xfrm>
            <a:off x="215900" y="4740195"/>
            <a:ext cx="8712200" cy="1460580"/>
          </a:xfrm>
        </p:spPr>
        <p:txBody>
          <a:bodyPr vert="horz" lIns="14400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15900" y="3968750"/>
            <a:ext cx="8712200" cy="216000"/>
          </a:xfrm>
        </p:spPr>
        <p:txBody>
          <a:bodyPr vert="horz" lIns="144000" tIns="0" rIns="0" bIns="0" rtlCol="0" anchor="t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9728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pic>
        <p:nvPicPr>
          <p:cNvPr id="3075" name="Picture 3" descr="ABB2logo RGB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21525" y="6392863"/>
            <a:ext cx="1795463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214314" y="225426"/>
            <a:ext cx="8702674" cy="359886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ctrTitle"/>
          </p:nvPr>
        </p:nvSpPr>
        <p:spPr>
          <a:xfrm>
            <a:off x="215900" y="4181485"/>
            <a:ext cx="8712200" cy="2019289"/>
          </a:xfrm>
        </p:spPr>
        <p:txBody>
          <a:bodyPr lIns="14400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3" name="Untertitel 2"/>
          <p:cNvSpPr>
            <a:spLocks noGrp="1"/>
          </p:cNvSpPr>
          <p:nvPr>
            <p:ph type="subTitle" idx="1"/>
          </p:nvPr>
        </p:nvSpPr>
        <p:spPr>
          <a:xfrm>
            <a:off x="215900" y="4740195"/>
            <a:ext cx="8712200" cy="1460580"/>
          </a:xfrm>
        </p:spPr>
        <p:txBody>
          <a:bodyPr vert="horz" lIns="14400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15900" y="3968750"/>
            <a:ext cx="8712200" cy="216000"/>
          </a:xfrm>
        </p:spPr>
        <p:txBody>
          <a:bodyPr vert="horz" lIns="144000" tIns="0" rIns="0" bIns="0" rtlCol="0" anchor="t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0916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pic>
        <p:nvPicPr>
          <p:cNvPr id="4099" name="Picture 3" descr="ABB2logo RGB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21525" y="6392863"/>
            <a:ext cx="1795463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215900" y="225425"/>
            <a:ext cx="8712200" cy="3970348"/>
          </a:xfrm>
        </p:spPr>
        <p:txBody>
          <a:bodyPr lIns="144000" tIns="144000" rIns="0" bIns="0" anchor="t">
            <a:normAutofit/>
          </a:bodyPr>
          <a:lstStyle>
            <a:lvl1pPr algn="l">
              <a:defRPr sz="54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15900" y="5254650"/>
            <a:ext cx="8712200" cy="203175"/>
          </a:xfrm>
        </p:spPr>
        <p:txBody>
          <a:bodyPr vert="horz" lIns="144000" tIns="0" rIns="0" bIns="0" rtlCol="0" anchor="t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540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Bildplatzhalter 9"/>
          <p:cNvSpPr>
            <a:spLocks noGrp="1"/>
          </p:cNvSpPr>
          <p:nvPr>
            <p:ph type="pic" sz="quarter" idx="12"/>
          </p:nvPr>
        </p:nvSpPr>
        <p:spPr>
          <a:xfrm>
            <a:off x="214313" y="225425"/>
            <a:ext cx="8713787" cy="3598863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215900" y="4181485"/>
            <a:ext cx="8712200" cy="2019289"/>
          </a:xfrm>
        </p:spPr>
        <p:txBody>
          <a:bodyPr lIns="14400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" name="Untertitel 2"/>
          <p:cNvSpPr>
            <a:spLocks noGrp="1"/>
          </p:cNvSpPr>
          <p:nvPr>
            <p:ph type="subTitle" idx="1"/>
          </p:nvPr>
        </p:nvSpPr>
        <p:spPr>
          <a:xfrm>
            <a:off x="215900" y="4740195"/>
            <a:ext cx="8712200" cy="1460580"/>
          </a:xfrm>
        </p:spPr>
        <p:txBody>
          <a:bodyPr vert="horz" lIns="14400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48673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215900" y="225424"/>
            <a:ext cx="8712200" cy="5975351"/>
          </a:xfrm>
        </p:spPr>
        <p:txBody>
          <a:bodyPr vert="horz" lIns="144000" tIns="14400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5400" kern="1200" dirty="0" smtClean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43613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1" name="Inhaltsplatzhalter 3"/>
          <p:cNvSpPr>
            <a:spLocks noGrp="1"/>
          </p:cNvSpPr>
          <p:nvPr>
            <p:ph sz="half" idx="2"/>
          </p:nvPr>
        </p:nvSpPr>
        <p:spPr>
          <a:xfrm>
            <a:off x="1476374" y="1592263"/>
            <a:ext cx="6191251" cy="4608512"/>
          </a:xfrm>
        </p:spPr>
        <p:txBody>
          <a:bodyPr>
            <a:normAutofit/>
          </a:bodyPr>
          <a:lstStyle>
            <a:lvl1pPr marL="179388" indent="-179388"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1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  <p:sp>
        <p:nvSpPr>
          <p:cNvPr id="23" name="Untertitel 2"/>
          <p:cNvSpPr>
            <a:spLocks noGrp="1"/>
          </p:cNvSpPr>
          <p:nvPr>
            <p:ph type="subTitle" idx="1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558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3"/>
          <p:cNvSpPr>
            <a:spLocks noGrp="1"/>
          </p:cNvSpPr>
          <p:nvPr>
            <p:ph sz="half" idx="2"/>
          </p:nvPr>
        </p:nvSpPr>
        <p:spPr>
          <a:xfrm>
            <a:off x="1476374" y="1592263"/>
            <a:ext cx="6191251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half" idx="10"/>
          </p:nvPr>
        </p:nvSpPr>
        <p:spPr>
          <a:xfrm>
            <a:off x="1476376" y="3968749"/>
            <a:ext cx="6191250" cy="223202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en-US" smtClean="0"/>
              <a:t>Click to edit Master text styles</a:t>
            </a:r>
          </a:p>
          <a:p>
            <a:pPr marL="179388" marR="0" lvl="1" indent="-179388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en-US" smtClean="0"/>
              <a:t>Second level</a:t>
            </a:r>
          </a:p>
          <a:p>
            <a:pPr marL="179388" marR="0" lvl="2" indent="-179388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en-US" smtClean="0"/>
              <a:t>Third level</a:t>
            </a:r>
          </a:p>
          <a:p>
            <a:pPr marL="179388" marR="0" lvl="3" indent="-179388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en-US" smtClean="0"/>
              <a:t>Fourth level</a:t>
            </a:r>
          </a:p>
          <a:p>
            <a:pPr marL="179388" marR="0" lvl="4" indent="-179388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93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/>
          <p:cNvSpPr>
            <a:spLocks noGrp="1"/>
          </p:cNvSpPr>
          <p:nvPr>
            <p:ph sz="half" idx="2"/>
          </p:nvPr>
        </p:nvSpPr>
        <p:spPr>
          <a:xfrm>
            <a:off x="1476374" y="1592263"/>
            <a:ext cx="3021013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half" idx="10"/>
          </p:nvPr>
        </p:nvSpPr>
        <p:spPr>
          <a:xfrm>
            <a:off x="1476376" y="3968749"/>
            <a:ext cx="6191250" cy="223202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1"/>
          </p:nvPr>
        </p:nvSpPr>
        <p:spPr>
          <a:xfrm>
            <a:off x="4643438" y="1592263"/>
            <a:ext cx="3024187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388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3"/>
          <p:cNvSpPr>
            <a:spLocks noGrp="1"/>
          </p:cNvSpPr>
          <p:nvPr>
            <p:ph sz="half" idx="2"/>
          </p:nvPr>
        </p:nvSpPr>
        <p:spPr>
          <a:xfrm>
            <a:off x="1476375" y="1592262"/>
            <a:ext cx="1976400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10"/>
          </p:nvPr>
        </p:nvSpPr>
        <p:spPr>
          <a:xfrm>
            <a:off x="1476376" y="3968750"/>
            <a:ext cx="6191250" cy="22320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7" name="Inhaltsplatzhalter 3"/>
          <p:cNvSpPr>
            <a:spLocks noGrp="1"/>
          </p:cNvSpPr>
          <p:nvPr>
            <p:ph sz="half" idx="11"/>
          </p:nvPr>
        </p:nvSpPr>
        <p:spPr>
          <a:xfrm>
            <a:off x="3583800" y="1592263"/>
            <a:ext cx="1976400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Inhaltsplatzhalter 3"/>
          <p:cNvSpPr>
            <a:spLocks noGrp="1"/>
          </p:cNvSpPr>
          <p:nvPr>
            <p:ph sz="half" idx="12"/>
          </p:nvPr>
        </p:nvSpPr>
        <p:spPr>
          <a:xfrm>
            <a:off x="5691225" y="1592262"/>
            <a:ext cx="1976400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1" name="Untertitel 2"/>
          <p:cNvSpPr>
            <a:spLocks noGrp="1"/>
          </p:cNvSpPr>
          <p:nvPr>
            <p:ph type="subTitle" idx="1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845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half" idx="1"/>
          </p:nvPr>
        </p:nvSpPr>
        <p:spPr>
          <a:xfrm>
            <a:off x="1476375" y="1592263"/>
            <a:ext cx="3019424" cy="4608512"/>
          </a:xfrm>
        </p:spPr>
        <p:txBody>
          <a:bodyPr vert="horz" lIns="0" tIns="0" rIns="0" bIns="0" rtlCol="0">
            <a:normAutofit/>
          </a:bodyPr>
          <a:lstStyle>
            <a:lvl1pPr marL="179388" indent="-179388"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lang="de-DE" sz="18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2"/>
          </p:nvPr>
        </p:nvSpPr>
        <p:spPr>
          <a:xfrm>
            <a:off x="4643438" y="1592263"/>
            <a:ext cx="3024187" cy="4608511"/>
          </a:xfrm>
        </p:spPr>
        <p:txBody>
          <a:bodyPr vert="horz" lIns="0" tIns="0" rIns="0" bIns="0" rtlCol="0">
            <a:normAutofit/>
          </a:bodyPr>
          <a:lstStyle>
            <a:lvl1pPr marL="179388" indent="-179388"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lang="de-DE" sz="18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5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955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FB1CC59E-BA34-496D-8B27-C0D11E43C11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198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bes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1476374" y="1592263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1"/>
          </p:nvPr>
        </p:nvSpPr>
        <p:spPr>
          <a:xfrm>
            <a:off x="1476374" y="3968750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half" idx="2"/>
          </p:nvPr>
        </p:nvSpPr>
        <p:spPr>
          <a:xfrm>
            <a:off x="4646612" y="1592263"/>
            <a:ext cx="3021013" cy="46085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8" name="Untertitel 2"/>
          <p:cNvSpPr>
            <a:spLocks noGrp="1"/>
          </p:cNvSpPr>
          <p:nvPr>
            <p:ph type="subTitle" idx="15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810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1476374" y="1592263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1"/>
          </p:nvPr>
        </p:nvSpPr>
        <p:spPr>
          <a:xfrm>
            <a:off x="1476374" y="3968750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2"/>
          </p:nvPr>
        </p:nvSpPr>
        <p:spPr>
          <a:xfrm>
            <a:off x="4643436" y="1592263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3"/>
          </p:nvPr>
        </p:nvSpPr>
        <p:spPr>
          <a:xfrm>
            <a:off x="4643436" y="3968750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1" name="Untertitel 2"/>
          <p:cNvSpPr>
            <a:spLocks noGrp="1"/>
          </p:cNvSpPr>
          <p:nvPr>
            <p:ph type="subTitle" idx="15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311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215900" y="1592263"/>
            <a:ext cx="8712200" cy="460851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0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394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215900" y="1592263"/>
            <a:ext cx="4284663" cy="460851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2"/>
          </p:nvPr>
        </p:nvSpPr>
        <p:spPr>
          <a:xfrm>
            <a:off x="4643439" y="1592263"/>
            <a:ext cx="4284662" cy="460851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3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43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ar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2"/>
          <p:cNvSpPr>
            <a:spLocks noGrp="1"/>
          </p:cNvSpPr>
          <p:nvPr>
            <p:ph sz="quarter" idx="15"/>
          </p:nvPr>
        </p:nvSpPr>
        <p:spPr>
          <a:xfrm>
            <a:off x="1476375" y="2162175"/>
            <a:ext cx="7451725" cy="4038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1476375" y="1581149"/>
            <a:ext cx="7451725" cy="581025"/>
          </a:xfrm>
        </p:spPr>
        <p:txBody>
          <a:bodyPr>
            <a:normAutofit/>
          </a:bodyPr>
          <a:lstStyle>
            <a:lvl1pPr marL="179388" marR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4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3"/>
          </p:nvPr>
        </p:nvSpPr>
        <p:spPr>
          <a:xfrm>
            <a:off x="215900" y="1592263"/>
            <a:ext cx="1116013" cy="4608512"/>
          </a:xfrm>
        </p:spPr>
        <p:txBody>
          <a:bodyPr vert="horz" lIns="0" tIns="36000" rIns="0" bIns="0" numCol="1" spcCol="396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lang="de-DE" sz="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5610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movie 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0" y="1592262"/>
            <a:ext cx="9144000" cy="5265737"/>
          </a:xfrm>
          <a:solidFill>
            <a:schemeClr val="bg2"/>
          </a:solidFill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9144000" cy="15922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133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movie 4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0" y="0"/>
            <a:ext cx="9144000" cy="6857999"/>
          </a:xfrm>
          <a:solidFill>
            <a:schemeClr val="bg2"/>
          </a:solidFill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0938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7667625" y="6200775"/>
            <a:ext cx="1476375" cy="6572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180975" algn="ctr">
              <a:buClr>
                <a:srgbClr val="005ADE"/>
              </a:buClr>
              <a:buFont typeface="Wingdings" pitchFamily="2" charset="2"/>
              <a:buChar char="§"/>
            </a:pPr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5122" name="Group 2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5123" name="Rectangle 3"/>
            <p:cNvSpPr>
              <a:spLocks noChangeArrowheads="1"/>
            </p:cNvSpPr>
            <p:nvPr/>
          </p:nvSpPr>
          <p:spPr bwMode="auto">
            <a:xfrm>
              <a:off x="0" y="0"/>
              <a:ext cx="5760" cy="43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pic>
          <p:nvPicPr>
            <p:cNvPr id="5124" name="Picture 4" descr="ABB1ClaimL_rgb300_100mmLIGHT Kopie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67" y="1660"/>
              <a:ext cx="5031" cy="743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427291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60"/>
          <p:cNvSpPr>
            <a:spLocks noChangeArrowheads="1"/>
          </p:cNvSpPr>
          <p:nvPr/>
        </p:nvSpPr>
        <p:spPr bwMode="auto">
          <a:xfrm>
            <a:off x="215900" y="223838"/>
            <a:ext cx="8712200" cy="5976937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9A2801"/>
              </a:buClr>
              <a:buSzPct val="70000"/>
              <a:buFont typeface="Wingdings" pitchFamily="2" charset="2"/>
              <a:buChar char="§"/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5" name="shpGridNormal" hidden="1"/>
          <p:cNvGrpSpPr>
            <a:grpSpLocks/>
          </p:cNvGrpSpPr>
          <p:nvPr/>
        </p:nvGrpSpPr>
        <p:grpSpPr bwMode="auto">
          <a:xfrm>
            <a:off x="325438" y="434975"/>
            <a:ext cx="8496300" cy="5983288"/>
            <a:chOff x="292" y="389"/>
            <a:chExt cx="7611" cy="5361"/>
          </a:xfrm>
        </p:grpSpPr>
        <p:sp>
          <p:nvSpPr>
            <p:cNvPr id="6" name="Rectangle 205" hidden="1"/>
            <p:cNvSpPr>
              <a:spLocks noChangeArrowheads="1"/>
            </p:cNvSpPr>
            <p:nvPr userDrawn="1"/>
          </p:nvSpPr>
          <p:spPr bwMode="auto">
            <a:xfrm>
              <a:off x="292" y="389"/>
              <a:ext cx="7610" cy="5361"/>
            </a:xfrm>
            <a:prstGeom prst="rect">
              <a:avLst/>
            </a:prstGeom>
            <a:noFill/>
            <a:ln w="19050">
              <a:solidFill>
                <a:srgbClr val="8BA2B2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defTabSz="642938" fontAlgn="base">
                <a:spcBef>
                  <a:spcPct val="0"/>
                </a:spcBef>
                <a:spcAft>
                  <a:spcPct val="0"/>
                </a:spcAft>
              </a:pPr>
              <a:endParaRPr lang="en-GB" sz="1700">
                <a:solidFill>
                  <a:srgbClr val="000000"/>
                </a:solidFill>
              </a:endParaRPr>
            </a:p>
          </p:txBody>
        </p:sp>
        <p:sp>
          <p:nvSpPr>
            <p:cNvPr id="7" name="Line 206" hidden="1"/>
            <p:cNvSpPr>
              <a:spLocks noChangeShapeType="1"/>
            </p:cNvSpPr>
            <p:nvPr userDrawn="1"/>
          </p:nvSpPr>
          <p:spPr bwMode="auto">
            <a:xfrm>
              <a:off x="310" y="927"/>
              <a:ext cx="7567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" name="Line 207" hidden="1"/>
            <p:cNvSpPr>
              <a:spLocks noChangeShapeType="1"/>
            </p:cNvSpPr>
            <p:nvPr userDrawn="1"/>
          </p:nvSpPr>
          <p:spPr bwMode="auto">
            <a:xfrm>
              <a:off x="310" y="1460"/>
              <a:ext cx="7593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" name="Line 208" hidden="1"/>
            <p:cNvSpPr>
              <a:spLocks noChangeShapeType="1"/>
            </p:cNvSpPr>
            <p:nvPr userDrawn="1"/>
          </p:nvSpPr>
          <p:spPr bwMode="auto">
            <a:xfrm>
              <a:off x="310" y="2002"/>
              <a:ext cx="7587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Line 209" hidden="1"/>
            <p:cNvSpPr>
              <a:spLocks noChangeShapeType="1"/>
            </p:cNvSpPr>
            <p:nvPr userDrawn="1"/>
          </p:nvSpPr>
          <p:spPr bwMode="auto">
            <a:xfrm>
              <a:off x="310" y="2531"/>
              <a:ext cx="7584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" name="Line 210" hidden="1"/>
            <p:cNvSpPr>
              <a:spLocks noChangeShapeType="1"/>
            </p:cNvSpPr>
            <p:nvPr userDrawn="1"/>
          </p:nvSpPr>
          <p:spPr bwMode="auto">
            <a:xfrm>
              <a:off x="310" y="3067"/>
              <a:ext cx="7587" cy="0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" name="Line 211" hidden="1"/>
            <p:cNvSpPr>
              <a:spLocks noChangeShapeType="1"/>
            </p:cNvSpPr>
            <p:nvPr userDrawn="1"/>
          </p:nvSpPr>
          <p:spPr bwMode="auto">
            <a:xfrm>
              <a:off x="310" y="3604"/>
              <a:ext cx="7593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Line 212" hidden="1"/>
            <p:cNvSpPr>
              <a:spLocks noChangeShapeType="1"/>
            </p:cNvSpPr>
            <p:nvPr userDrawn="1"/>
          </p:nvSpPr>
          <p:spPr bwMode="auto">
            <a:xfrm>
              <a:off x="310" y="4144"/>
              <a:ext cx="7587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Line 213" hidden="1"/>
            <p:cNvSpPr>
              <a:spLocks noChangeShapeType="1"/>
            </p:cNvSpPr>
            <p:nvPr userDrawn="1"/>
          </p:nvSpPr>
          <p:spPr bwMode="auto">
            <a:xfrm>
              <a:off x="293" y="4679"/>
              <a:ext cx="7601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Line 214" hidden="1"/>
            <p:cNvSpPr>
              <a:spLocks noChangeShapeType="1"/>
            </p:cNvSpPr>
            <p:nvPr userDrawn="1"/>
          </p:nvSpPr>
          <p:spPr bwMode="auto">
            <a:xfrm>
              <a:off x="293" y="5217"/>
              <a:ext cx="7604" cy="0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Line 215" hidden="1"/>
            <p:cNvSpPr>
              <a:spLocks noChangeShapeType="1"/>
            </p:cNvSpPr>
            <p:nvPr userDrawn="1"/>
          </p:nvSpPr>
          <p:spPr bwMode="auto">
            <a:xfrm>
              <a:off x="1280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Line 216" hidden="1"/>
            <p:cNvSpPr>
              <a:spLocks noChangeShapeType="1"/>
            </p:cNvSpPr>
            <p:nvPr userDrawn="1"/>
          </p:nvSpPr>
          <p:spPr bwMode="auto">
            <a:xfrm>
              <a:off x="139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Line 217" hidden="1"/>
            <p:cNvSpPr>
              <a:spLocks noChangeShapeType="1"/>
            </p:cNvSpPr>
            <p:nvPr userDrawn="1"/>
          </p:nvSpPr>
          <p:spPr bwMode="auto">
            <a:xfrm>
              <a:off x="2382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Line 218" hidden="1"/>
            <p:cNvSpPr>
              <a:spLocks noChangeShapeType="1"/>
            </p:cNvSpPr>
            <p:nvPr userDrawn="1"/>
          </p:nvSpPr>
          <p:spPr bwMode="auto">
            <a:xfrm>
              <a:off x="2498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0" name="Group 219" hidden="1"/>
            <p:cNvGrpSpPr>
              <a:grpSpLocks/>
            </p:cNvGrpSpPr>
            <p:nvPr userDrawn="1"/>
          </p:nvGrpSpPr>
          <p:grpSpPr bwMode="auto">
            <a:xfrm>
              <a:off x="3485" y="390"/>
              <a:ext cx="112" cy="5354"/>
              <a:chOff x="3485" y="390"/>
              <a:chExt cx="112" cy="5354"/>
            </a:xfrm>
          </p:grpSpPr>
          <p:sp>
            <p:nvSpPr>
              <p:cNvPr id="32" name="Line 220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Line 221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" name="Line 222" hidden="1"/>
            <p:cNvSpPr>
              <a:spLocks noChangeShapeType="1"/>
            </p:cNvSpPr>
            <p:nvPr userDrawn="1"/>
          </p:nvSpPr>
          <p:spPr bwMode="auto">
            <a:xfrm>
              <a:off x="4095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2" name="Group 223" hidden="1"/>
            <p:cNvGrpSpPr>
              <a:grpSpLocks/>
            </p:cNvGrpSpPr>
            <p:nvPr userDrawn="1"/>
          </p:nvGrpSpPr>
          <p:grpSpPr bwMode="auto">
            <a:xfrm>
              <a:off x="4592" y="390"/>
              <a:ext cx="114" cy="5354"/>
              <a:chOff x="4592" y="390"/>
              <a:chExt cx="114" cy="5354"/>
            </a:xfrm>
          </p:grpSpPr>
          <p:sp>
            <p:nvSpPr>
              <p:cNvPr id="30" name="Line 224" hidden="1"/>
              <p:cNvSpPr>
                <a:spLocks noChangeShapeType="1"/>
              </p:cNvSpPr>
              <p:nvPr userDrawn="1"/>
            </p:nvSpPr>
            <p:spPr bwMode="auto">
              <a:xfrm>
                <a:off x="4592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Line 225" hidden="1"/>
              <p:cNvSpPr>
                <a:spLocks noChangeShapeType="1"/>
              </p:cNvSpPr>
              <p:nvPr userDrawn="1"/>
            </p:nvSpPr>
            <p:spPr bwMode="auto">
              <a:xfrm>
                <a:off x="4706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3" name="Line 226" hidden="1"/>
            <p:cNvSpPr>
              <a:spLocks noChangeShapeType="1"/>
            </p:cNvSpPr>
            <p:nvPr userDrawn="1"/>
          </p:nvSpPr>
          <p:spPr bwMode="auto">
            <a:xfrm>
              <a:off x="5696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Line 227" hidden="1"/>
            <p:cNvSpPr>
              <a:spLocks noChangeShapeType="1"/>
            </p:cNvSpPr>
            <p:nvPr userDrawn="1"/>
          </p:nvSpPr>
          <p:spPr bwMode="auto">
            <a:xfrm>
              <a:off x="581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Line 228" hidden="1"/>
            <p:cNvSpPr>
              <a:spLocks noChangeShapeType="1"/>
            </p:cNvSpPr>
            <p:nvPr userDrawn="1"/>
          </p:nvSpPr>
          <p:spPr bwMode="auto">
            <a:xfrm>
              <a:off x="6799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Line 229" hidden="1"/>
            <p:cNvSpPr>
              <a:spLocks noChangeShapeType="1"/>
            </p:cNvSpPr>
            <p:nvPr userDrawn="1"/>
          </p:nvSpPr>
          <p:spPr bwMode="auto">
            <a:xfrm>
              <a:off x="6915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7" name="Group 230" hidden="1"/>
            <p:cNvGrpSpPr>
              <a:grpSpLocks/>
            </p:cNvGrpSpPr>
            <p:nvPr userDrawn="1"/>
          </p:nvGrpSpPr>
          <p:grpSpPr bwMode="auto">
            <a:xfrm>
              <a:off x="4038" y="390"/>
              <a:ext cx="112" cy="5354"/>
              <a:chOff x="3485" y="390"/>
              <a:chExt cx="112" cy="5354"/>
            </a:xfrm>
          </p:grpSpPr>
          <p:sp>
            <p:nvSpPr>
              <p:cNvPr id="28" name="Line 231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Line 232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34" name="Picture 268" descr="ABB2logo 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1525" y="6392863"/>
            <a:ext cx="1795463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30" name="Rectangle 34"/>
          <p:cNvSpPr>
            <a:spLocks noGrp="1" noChangeArrowheads="1"/>
          </p:cNvSpPr>
          <p:nvPr>
            <p:ph type="ctrTitle"/>
          </p:nvPr>
        </p:nvSpPr>
        <p:spPr>
          <a:xfrm>
            <a:off x="215900" y="4184650"/>
            <a:ext cx="8712200" cy="2016125"/>
          </a:xfrm>
        </p:spPr>
        <p:txBody>
          <a:bodyPr lIns="144000" tIns="0" rIns="0"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/>
              <a:t>Mastertitelformat bearbeiten</a:t>
            </a:r>
          </a:p>
        </p:txBody>
      </p:sp>
      <p:sp>
        <p:nvSpPr>
          <p:cNvPr id="4138" name="Rectangle 4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15900" y="3968750"/>
            <a:ext cx="8712200" cy="215900"/>
          </a:xfrm>
        </p:spPr>
        <p:txBody>
          <a:bodyPr lIns="169200"/>
          <a:lstStyle>
            <a:lvl1pPr marL="0" indent="0">
              <a:buFont typeface="Wingdings" pitchFamily="2" charset="2"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CH"/>
              <a:t>Master-Untertitelformat bearbeiten</a:t>
            </a:r>
          </a:p>
        </p:txBody>
      </p:sp>
      <p:sp>
        <p:nvSpPr>
          <p:cNvPr id="35" name="shpContentSlideFooter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A0128F8F-4479-4898-81CE-ED5F0A0903CC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61EC420F-9572-4278-9054-1AC7771CCC6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98065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BFEE78C0-E60C-4580-9D31-47E5A0DD32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683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4F5C15E4-3CC2-4BE9-816C-26075A32852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8340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3689B39A-1AA4-4DE2-948D-A75E4EB391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175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76375" y="1592263"/>
            <a:ext cx="3019425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92263"/>
            <a:ext cx="3019425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0C859200-A204-4C94-93DB-572CBE86E0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4639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2420E819-DDE7-4CFF-94DD-36EFE89C4E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19542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0E0D974B-1C82-47E7-A136-2135C23DDE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9143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1C119EB8-87EB-4F93-9109-57ED49BE60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1941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C10B0939-09E4-4F7E-B524-959A130E1F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1751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5CD6DF76-38FA-4A41-A8CD-D56D1A35F3A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5747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F36EF627-E481-44CB-B013-EE979C1B63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7182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2007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200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3CA6A323-3D2D-484F-886D-E0F1393AE1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0070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476375" y="1592263"/>
            <a:ext cx="3019425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92263"/>
            <a:ext cx="3019425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37A03366-56CD-419B-BBEA-A7CE375A53B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073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5FE8CE52-CB9D-4208-B099-9FB7ED1FF2B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544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476375" y="1592263"/>
            <a:ext cx="6191250" cy="4608512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shpContentSlideFooter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02C0F086-5E05-49AF-A638-18CDB3CBD9A1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88DDF91F-5F80-4DAB-B98E-5648189EAB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6949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8"/>
          <p:cNvSpPr txBox="1"/>
          <p:nvPr userDrawn="1"/>
        </p:nvSpPr>
        <p:spPr>
          <a:xfrm>
            <a:off x="215900" y="6200775"/>
            <a:ext cx="2374900" cy="657225"/>
          </a:xfrm>
          <a:prstGeom prst="rect">
            <a:avLst/>
          </a:prstGeom>
        </p:spPr>
        <p:txBody>
          <a:bodyPr lIns="0" tIns="0" rIns="0" bIns="198000" anchor="b"/>
          <a:lstStyle/>
          <a:p>
            <a:pPr>
              <a:buClr>
                <a:srgbClr val="002897"/>
              </a:buClr>
              <a:buSzPct val="70000"/>
              <a:buFont typeface="Wingdings" pitchFamily="2" charset="2"/>
              <a:buChar char="§"/>
              <a:defRPr/>
            </a:pPr>
            <a:endParaRPr lang="en-US" sz="600" dirty="0">
              <a:solidFill>
                <a:srgbClr val="000000"/>
              </a:solidFill>
              <a:cs typeface="Arial" pitchFamily="34" charset="0"/>
            </a:endParaRPr>
          </a:p>
          <a:p>
            <a:pPr>
              <a:buClr>
                <a:srgbClr val="002897"/>
              </a:buClr>
              <a:buSzPct val="70000"/>
              <a:buFont typeface="Wingdings" pitchFamily="2" charset="2"/>
              <a:buChar char="§"/>
              <a:defRPr/>
            </a:pPr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© ABB Group</a:t>
            </a:r>
            <a:endParaRPr lang="de-DE" sz="600" dirty="0">
              <a:solidFill>
                <a:srgbClr val="000000"/>
              </a:solidFill>
              <a:cs typeface="Arial" pitchFamily="34" charset="0"/>
            </a:endParaRPr>
          </a:p>
          <a:p>
            <a:pPr>
              <a:buClr>
                <a:srgbClr val="002897"/>
              </a:buClr>
              <a:buSzPct val="70000"/>
              <a:buFont typeface="Wingdings" pitchFamily="2" charset="2"/>
              <a:buChar char="§"/>
              <a:defRPr/>
            </a:pPr>
            <a:fld id="{CFB884F6-5C41-4F29-A188-5B766EEA4B94}" type="datetime4">
              <a:rPr lang="en-US" sz="600">
                <a:solidFill>
                  <a:srgbClr val="000000"/>
                </a:solidFill>
                <a:cs typeface="Arial" pitchFamily="34" charset="0"/>
              </a:rPr>
              <a:pPr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t>February 10, 2014</a:t>
            </a:fld>
            <a:r>
              <a:rPr lang="de-DE" sz="6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| </a:t>
            </a:r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Slide </a:t>
            </a:r>
            <a:fld id="{B1248034-0701-4F8C-8460-8EF3BD7E795C}" type="slidenum">
              <a:rPr lang="de-DE" sz="600">
                <a:solidFill>
                  <a:srgbClr val="000000"/>
                </a:solidFill>
                <a:cs typeface="Arial" pitchFamily="34" charset="0"/>
              </a:rPr>
              <a:pPr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t>‹#›</a:t>
            </a:fld>
            <a:endParaRPr lang="de-DE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2"/>
          </a:xfrm>
        </p:spPr>
        <p:txBody>
          <a:bodyPr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476374" y="1592263"/>
            <a:ext cx="6191251" cy="4608512"/>
          </a:xfrm>
        </p:spPr>
        <p:txBody>
          <a:bodyPr>
            <a:normAutofit/>
          </a:bodyPr>
          <a:lstStyle>
            <a:lvl1pPr marL="179388" indent="-179388"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11"/>
          </p:nvPr>
        </p:nvSpPr>
        <p:spPr>
          <a:xfrm>
            <a:off x="215900" y="1592263"/>
            <a:ext cx="1116013" cy="4608512"/>
          </a:xfrm>
        </p:spPr>
        <p:txBody>
          <a:bodyPr tIns="36000" spcCol="396000">
            <a:noAutofit/>
          </a:bodyPr>
          <a:lstStyle>
            <a:lvl1pPr marL="0" indent="0">
              <a:buClr>
                <a:schemeClr val="accent2"/>
              </a:buClr>
              <a:buFont typeface="+mj-lt"/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0" y="660363"/>
            <a:ext cx="9144000" cy="467099"/>
          </a:xfrm>
        </p:spPr>
        <p:txBody>
          <a:bodyPr lIns="187200" rIns="216000"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800" kern="1200" dirty="0" smtClean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3394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6" name="Rectangle 260"/>
          <p:cNvSpPr>
            <a:spLocks noChangeArrowheads="1"/>
          </p:cNvSpPr>
          <p:nvPr/>
        </p:nvSpPr>
        <p:spPr bwMode="auto">
          <a:xfrm>
            <a:off x="215900" y="223838"/>
            <a:ext cx="8712200" cy="597693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002897"/>
              </a:buClr>
              <a:buSzPct val="70000"/>
              <a:buFont typeface="Wingdings" pitchFamily="2" charset="2"/>
              <a:buChar char="§"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130" name="Rectangle 34"/>
          <p:cNvSpPr>
            <a:spLocks noGrp="1" noChangeArrowheads="1"/>
          </p:cNvSpPr>
          <p:nvPr>
            <p:ph type="ctrTitle"/>
          </p:nvPr>
        </p:nvSpPr>
        <p:spPr>
          <a:xfrm>
            <a:off x="215900" y="4184650"/>
            <a:ext cx="8712200" cy="2016125"/>
          </a:xfrm>
        </p:spPr>
        <p:txBody>
          <a:bodyPr lIns="144000" tIns="0" rIns="0"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/>
              <a:t>Mastertitelformat bearbeiten</a:t>
            </a:r>
          </a:p>
        </p:txBody>
      </p:sp>
      <p:sp>
        <p:nvSpPr>
          <p:cNvPr id="4138" name="Rectangle 4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15900" y="3968750"/>
            <a:ext cx="8712200" cy="215900"/>
          </a:xfrm>
        </p:spPr>
        <p:txBody>
          <a:bodyPr lIns="169200"/>
          <a:lstStyle>
            <a:lvl1pPr marL="0" indent="0">
              <a:buFont typeface="Wingdings" pitchFamily="2" charset="2"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CH"/>
              <a:t>Master-Untertitelformat bearbeiten</a:t>
            </a:r>
          </a:p>
        </p:txBody>
      </p:sp>
      <p:grpSp>
        <p:nvGrpSpPr>
          <p:cNvPr id="4300" name="shpGridNormal" hidden="1"/>
          <p:cNvGrpSpPr>
            <a:grpSpLocks/>
          </p:cNvGrpSpPr>
          <p:nvPr/>
        </p:nvGrpSpPr>
        <p:grpSpPr bwMode="auto">
          <a:xfrm>
            <a:off x="325438" y="434975"/>
            <a:ext cx="8496300" cy="5983288"/>
            <a:chOff x="292" y="389"/>
            <a:chExt cx="7611" cy="5361"/>
          </a:xfrm>
        </p:grpSpPr>
        <p:sp>
          <p:nvSpPr>
            <p:cNvPr id="4301" name="Rectangle 205" hidden="1"/>
            <p:cNvSpPr>
              <a:spLocks noChangeArrowheads="1"/>
            </p:cNvSpPr>
            <p:nvPr userDrawn="1"/>
          </p:nvSpPr>
          <p:spPr bwMode="auto">
            <a:xfrm>
              <a:off x="292" y="389"/>
              <a:ext cx="7610" cy="5361"/>
            </a:xfrm>
            <a:prstGeom prst="rect">
              <a:avLst/>
            </a:prstGeom>
            <a:noFill/>
            <a:ln w="19050">
              <a:solidFill>
                <a:srgbClr val="8BA2B2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642938" fontAlgn="base">
                <a:spcBef>
                  <a:spcPct val="0"/>
                </a:spcBef>
                <a:spcAft>
                  <a:spcPct val="0"/>
                </a:spcAft>
              </a:pPr>
              <a:endParaRPr lang="en-GB" sz="1700">
                <a:solidFill>
                  <a:srgbClr val="000000"/>
                </a:solidFill>
              </a:endParaRPr>
            </a:p>
          </p:txBody>
        </p:sp>
        <p:sp>
          <p:nvSpPr>
            <p:cNvPr id="4302" name="Line 206" hidden="1"/>
            <p:cNvSpPr>
              <a:spLocks noChangeShapeType="1"/>
            </p:cNvSpPr>
            <p:nvPr userDrawn="1"/>
          </p:nvSpPr>
          <p:spPr bwMode="auto">
            <a:xfrm>
              <a:off x="311" y="927"/>
              <a:ext cx="756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3" name="Line 207" hidden="1"/>
            <p:cNvSpPr>
              <a:spLocks noChangeShapeType="1"/>
            </p:cNvSpPr>
            <p:nvPr userDrawn="1"/>
          </p:nvSpPr>
          <p:spPr bwMode="auto">
            <a:xfrm>
              <a:off x="311" y="1460"/>
              <a:ext cx="759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4" name="Line 208" hidden="1"/>
            <p:cNvSpPr>
              <a:spLocks noChangeShapeType="1"/>
            </p:cNvSpPr>
            <p:nvPr userDrawn="1"/>
          </p:nvSpPr>
          <p:spPr bwMode="auto">
            <a:xfrm>
              <a:off x="311" y="2002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5" name="Line 209" hidden="1"/>
            <p:cNvSpPr>
              <a:spLocks noChangeShapeType="1"/>
            </p:cNvSpPr>
            <p:nvPr userDrawn="1"/>
          </p:nvSpPr>
          <p:spPr bwMode="auto">
            <a:xfrm>
              <a:off x="311" y="2531"/>
              <a:ext cx="7584" cy="2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6" name="Line 210" hidden="1"/>
            <p:cNvSpPr>
              <a:spLocks noChangeShapeType="1"/>
            </p:cNvSpPr>
            <p:nvPr userDrawn="1"/>
          </p:nvSpPr>
          <p:spPr bwMode="auto">
            <a:xfrm>
              <a:off x="311" y="3067"/>
              <a:ext cx="7588" cy="2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7" name="Line 211" hidden="1"/>
            <p:cNvSpPr>
              <a:spLocks noChangeShapeType="1"/>
            </p:cNvSpPr>
            <p:nvPr userDrawn="1"/>
          </p:nvSpPr>
          <p:spPr bwMode="auto">
            <a:xfrm>
              <a:off x="311" y="3604"/>
              <a:ext cx="759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8" name="Line 212" hidden="1"/>
            <p:cNvSpPr>
              <a:spLocks noChangeShapeType="1"/>
            </p:cNvSpPr>
            <p:nvPr userDrawn="1"/>
          </p:nvSpPr>
          <p:spPr bwMode="auto">
            <a:xfrm>
              <a:off x="311" y="4144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09" name="Line 213" hidden="1"/>
            <p:cNvSpPr>
              <a:spLocks noChangeShapeType="1"/>
            </p:cNvSpPr>
            <p:nvPr userDrawn="1"/>
          </p:nvSpPr>
          <p:spPr bwMode="auto">
            <a:xfrm>
              <a:off x="293" y="4679"/>
              <a:ext cx="760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10" name="Line 214" hidden="1"/>
            <p:cNvSpPr>
              <a:spLocks noChangeShapeType="1"/>
            </p:cNvSpPr>
            <p:nvPr userDrawn="1"/>
          </p:nvSpPr>
          <p:spPr bwMode="auto">
            <a:xfrm>
              <a:off x="293" y="5216"/>
              <a:ext cx="7604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11" name="Line 215" hidden="1"/>
            <p:cNvSpPr>
              <a:spLocks noChangeShapeType="1"/>
            </p:cNvSpPr>
            <p:nvPr userDrawn="1"/>
          </p:nvSpPr>
          <p:spPr bwMode="auto">
            <a:xfrm>
              <a:off x="128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12" name="Line 216" hidden="1"/>
            <p:cNvSpPr>
              <a:spLocks noChangeShapeType="1"/>
            </p:cNvSpPr>
            <p:nvPr userDrawn="1"/>
          </p:nvSpPr>
          <p:spPr bwMode="auto">
            <a:xfrm>
              <a:off x="139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13" name="Line 217" hidden="1"/>
            <p:cNvSpPr>
              <a:spLocks noChangeShapeType="1"/>
            </p:cNvSpPr>
            <p:nvPr userDrawn="1"/>
          </p:nvSpPr>
          <p:spPr bwMode="auto">
            <a:xfrm>
              <a:off x="2383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14" name="Line 218" hidden="1"/>
            <p:cNvSpPr>
              <a:spLocks noChangeShapeType="1"/>
            </p:cNvSpPr>
            <p:nvPr userDrawn="1"/>
          </p:nvSpPr>
          <p:spPr bwMode="auto">
            <a:xfrm>
              <a:off x="2497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4315" name="Group 219" hidden="1"/>
            <p:cNvGrpSpPr>
              <a:grpSpLocks/>
            </p:cNvGrpSpPr>
            <p:nvPr userDrawn="1"/>
          </p:nvGrpSpPr>
          <p:grpSpPr bwMode="auto">
            <a:xfrm>
              <a:off x="3485" y="390"/>
              <a:ext cx="112" cy="5354"/>
              <a:chOff x="3485" y="390"/>
              <a:chExt cx="112" cy="5354"/>
            </a:xfrm>
          </p:grpSpPr>
          <p:sp>
            <p:nvSpPr>
              <p:cNvPr id="4316" name="Line 220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17" name="Line 221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318" name="Line 222" hidden="1"/>
            <p:cNvSpPr>
              <a:spLocks noChangeShapeType="1"/>
            </p:cNvSpPr>
            <p:nvPr userDrawn="1"/>
          </p:nvSpPr>
          <p:spPr bwMode="auto">
            <a:xfrm>
              <a:off x="4094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4319" name="Group 223" hidden="1"/>
            <p:cNvGrpSpPr>
              <a:grpSpLocks/>
            </p:cNvGrpSpPr>
            <p:nvPr userDrawn="1"/>
          </p:nvGrpSpPr>
          <p:grpSpPr bwMode="auto">
            <a:xfrm>
              <a:off x="4592" y="390"/>
              <a:ext cx="114" cy="5354"/>
              <a:chOff x="4592" y="390"/>
              <a:chExt cx="114" cy="5354"/>
            </a:xfrm>
          </p:grpSpPr>
          <p:sp>
            <p:nvSpPr>
              <p:cNvPr id="4320" name="Line 224" hidden="1"/>
              <p:cNvSpPr>
                <a:spLocks noChangeShapeType="1"/>
              </p:cNvSpPr>
              <p:nvPr userDrawn="1"/>
            </p:nvSpPr>
            <p:spPr bwMode="auto">
              <a:xfrm>
                <a:off x="4592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21" name="Line 225" hidden="1"/>
              <p:cNvSpPr>
                <a:spLocks noChangeShapeType="1"/>
              </p:cNvSpPr>
              <p:nvPr userDrawn="1"/>
            </p:nvSpPr>
            <p:spPr bwMode="auto">
              <a:xfrm>
                <a:off x="4706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322" name="Line 226" hidden="1"/>
            <p:cNvSpPr>
              <a:spLocks noChangeShapeType="1"/>
            </p:cNvSpPr>
            <p:nvPr userDrawn="1"/>
          </p:nvSpPr>
          <p:spPr bwMode="auto">
            <a:xfrm>
              <a:off x="5696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23" name="Line 227" hidden="1"/>
            <p:cNvSpPr>
              <a:spLocks noChangeShapeType="1"/>
            </p:cNvSpPr>
            <p:nvPr userDrawn="1"/>
          </p:nvSpPr>
          <p:spPr bwMode="auto">
            <a:xfrm>
              <a:off x="581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24" name="Line 228" hidden="1"/>
            <p:cNvSpPr>
              <a:spLocks noChangeShapeType="1"/>
            </p:cNvSpPr>
            <p:nvPr userDrawn="1"/>
          </p:nvSpPr>
          <p:spPr bwMode="auto">
            <a:xfrm>
              <a:off x="680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25" name="Line 229" hidden="1"/>
            <p:cNvSpPr>
              <a:spLocks noChangeShapeType="1"/>
            </p:cNvSpPr>
            <p:nvPr userDrawn="1"/>
          </p:nvSpPr>
          <p:spPr bwMode="auto">
            <a:xfrm>
              <a:off x="6914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4326" name="Group 230" hidden="1"/>
            <p:cNvGrpSpPr>
              <a:grpSpLocks/>
            </p:cNvGrpSpPr>
            <p:nvPr userDrawn="1"/>
          </p:nvGrpSpPr>
          <p:grpSpPr bwMode="auto">
            <a:xfrm>
              <a:off x="4038" y="390"/>
              <a:ext cx="112" cy="5354"/>
              <a:chOff x="3485" y="390"/>
              <a:chExt cx="112" cy="5354"/>
            </a:xfrm>
          </p:grpSpPr>
          <p:sp>
            <p:nvSpPr>
              <p:cNvPr id="4327" name="Line 231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28" name="Line 232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357" name="shpContentSlideFooter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BD2CB7C8-4EFE-43FC-869D-0C42A6AAA7F5}" type="datetime4">
              <a:rPr lang="en-US"/>
              <a:pPr/>
              <a:t>February 10, 2014</a:t>
            </a:fld>
            <a:r>
              <a:rPr lang="en-US"/>
              <a:t> | Slide </a:t>
            </a:r>
            <a:fld id="{F14AFA84-20F4-4126-A5E8-D59FD0A30C80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4364" name="Picture 268" descr="ABB2logo R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21525" y="6392863"/>
            <a:ext cx="1795463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10358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359ECA57-0B17-454C-BB77-518DED2FD424}" type="datetime4">
              <a:rPr lang="en-US"/>
              <a:pPr/>
              <a:t>February 10, 2014</a:t>
            </a:fld>
            <a:r>
              <a:rPr lang="en-US"/>
              <a:t> | Slide </a:t>
            </a:r>
            <a:fld id="{D2A83C91-B5C2-438D-868D-D65B84FBA3C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911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359ECA57-0B17-454C-BB77-518DED2FD424}" type="datetime4">
              <a:rPr lang="en-US"/>
              <a:pPr/>
              <a:t>February 10, 2014</a:t>
            </a:fld>
            <a:r>
              <a:rPr lang="en-US"/>
              <a:t> | Slide </a:t>
            </a:r>
            <a:fld id="{1F69D6DC-0FF5-4F7A-B93F-2C5AFDAFBDE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957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76375" y="1592263"/>
            <a:ext cx="3019425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92263"/>
            <a:ext cx="3019425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359ECA57-0B17-454C-BB77-518DED2FD424}" type="datetime4">
              <a:rPr lang="en-US"/>
              <a:pPr/>
              <a:t>February 10, 2014</a:t>
            </a:fld>
            <a:r>
              <a:rPr lang="en-US"/>
              <a:t> | Slide </a:t>
            </a:r>
            <a:fld id="{FDA5A16F-9C94-4D48-80E2-C04A25B1BB3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79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359ECA57-0B17-454C-BB77-518DED2FD424}" type="datetime4">
              <a:rPr lang="en-US"/>
              <a:pPr/>
              <a:t>February 10, 2014</a:t>
            </a:fld>
            <a:r>
              <a:rPr lang="en-US"/>
              <a:t> | Slide </a:t>
            </a:r>
            <a:fld id="{19AECB62-8E4F-40D8-8CC7-48F3DB1B70B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578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359ECA57-0B17-454C-BB77-518DED2FD424}" type="datetime4">
              <a:rPr lang="en-US"/>
              <a:pPr/>
              <a:t>February 10, 2014</a:t>
            </a:fld>
            <a:r>
              <a:rPr lang="en-US"/>
              <a:t> | Slide </a:t>
            </a:r>
            <a:fld id="{ACEC9D32-97B7-458A-A0D4-7ED86381990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033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359ECA57-0B17-454C-BB77-518DED2FD424}" type="datetime4">
              <a:rPr lang="en-US"/>
              <a:pPr/>
              <a:t>February 10, 2014</a:t>
            </a:fld>
            <a:r>
              <a:rPr lang="en-US"/>
              <a:t> | Slide </a:t>
            </a:r>
            <a:fld id="{F1F842B7-BFE3-490B-8CBE-D65B690C2A1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549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359ECA57-0B17-454C-BB77-518DED2FD424}" type="datetime4">
              <a:rPr lang="en-US"/>
              <a:pPr/>
              <a:t>February 10, 2014</a:t>
            </a:fld>
            <a:r>
              <a:rPr lang="en-US"/>
              <a:t> | Slide </a:t>
            </a:r>
            <a:fld id="{ABB7EE84-AB2F-4054-AE53-E3B4684ED51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616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54B69E91-4A79-4055-B247-C7F6A9B9096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0458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359ECA57-0B17-454C-BB77-518DED2FD424}" type="datetime4">
              <a:rPr lang="en-US"/>
              <a:pPr/>
              <a:t>February 10, 2014</a:t>
            </a:fld>
            <a:r>
              <a:rPr lang="en-US"/>
              <a:t> | Slide </a:t>
            </a:r>
            <a:fld id="{51D063FC-22BF-46C8-B9D8-A407ED8201B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537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359ECA57-0B17-454C-BB77-518DED2FD424}" type="datetime4">
              <a:rPr lang="en-US"/>
              <a:pPr/>
              <a:t>February 10, 2014</a:t>
            </a:fld>
            <a:r>
              <a:rPr lang="en-US"/>
              <a:t> | Slide </a:t>
            </a:r>
            <a:fld id="{ECB686B1-5128-4F3A-A1BC-AD7B2F3BCD1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154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2007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200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359ECA57-0B17-454C-BB77-518DED2FD424}" type="datetime4">
              <a:rPr lang="en-US"/>
              <a:pPr/>
              <a:t>February 10, 2014</a:t>
            </a:fld>
            <a:r>
              <a:rPr lang="en-US"/>
              <a:t> | Slide </a:t>
            </a:r>
            <a:fld id="{44A5ED87-74A1-4C00-BF29-FDEFC96948D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722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8"/>
          <p:cNvSpPr txBox="1"/>
          <p:nvPr userDrawn="1"/>
        </p:nvSpPr>
        <p:spPr>
          <a:xfrm>
            <a:off x="215900" y="6200775"/>
            <a:ext cx="2374900" cy="657225"/>
          </a:xfrm>
          <a:prstGeom prst="rect">
            <a:avLst/>
          </a:prstGeom>
        </p:spPr>
        <p:txBody>
          <a:bodyPr lIns="0" tIns="0" rIns="0" bIns="198000" anchor="b"/>
          <a:lstStyle/>
          <a:p>
            <a:pPr>
              <a:buClr>
                <a:srgbClr val="002897"/>
              </a:buClr>
              <a:buSzPct val="70000"/>
              <a:buFont typeface="Wingdings" pitchFamily="2" charset="2"/>
              <a:buChar char="§"/>
              <a:defRPr/>
            </a:pPr>
            <a:endParaRPr lang="en-US" sz="600" dirty="0">
              <a:solidFill>
                <a:srgbClr val="000000"/>
              </a:solidFill>
              <a:cs typeface="Arial" pitchFamily="34" charset="0"/>
            </a:endParaRPr>
          </a:p>
          <a:p>
            <a:pPr>
              <a:buClr>
                <a:srgbClr val="002897"/>
              </a:buClr>
              <a:buSzPct val="70000"/>
              <a:buFont typeface="Wingdings" pitchFamily="2" charset="2"/>
              <a:buChar char="§"/>
              <a:defRPr/>
            </a:pPr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© ABB Group</a:t>
            </a:r>
            <a:endParaRPr lang="de-DE" sz="600" dirty="0">
              <a:solidFill>
                <a:srgbClr val="000000"/>
              </a:solidFill>
              <a:cs typeface="Arial" pitchFamily="34" charset="0"/>
            </a:endParaRPr>
          </a:p>
          <a:p>
            <a:pPr>
              <a:buClr>
                <a:srgbClr val="002897"/>
              </a:buClr>
              <a:buSzPct val="70000"/>
              <a:buFont typeface="Wingdings" pitchFamily="2" charset="2"/>
              <a:buChar char="§"/>
              <a:defRPr/>
            </a:pPr>
            <a:fld id="{CFB884F6-5C41-4F29-A188-5B766EEA4B94}" type="datetime4">
              <a:rPr lang="en-US" sz="600">
                <a:solidFill>
                  <a:srgbClr val="000000"/>
                </a:solidFill>
                <a:cs typeface="Arial" pitchFamily="34" charset="0"/>
              </a:rPr>
              <a:pPr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t>February 10, 2014</a:t>
            </a:fld>
            <a:r>
              <a:rPr lang="de-DE" sz="6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| </a:t>
            </a:r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Slide </a:t>
            </a:r>
            <a:fld id="{B1248034-0701-4F8C-8460-8EF3BD7E795C}" type="slidenum">
              <a:rPr lang="de-DE" sz="600">
                <a:solidFill>
                  <a:srgbClr val="000000"/>
                </a:solidFill>
                <a:cs typeface="Arial" pitchFamily="34" charset="0"/>
              </a:rPr>
              <a:pPr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t>‹#›</a:t>
            </a:fld>
            <a:endParaRPr lang="de-DE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2"/>
          </a:xfrm>
        </p:spPr>
        <p:txBody>
          <a:bodyPr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476374" y="1592263"/>
            <a:ext cx="6191251" cy="4608512"/>
          </a:xfrm>
        </p:spPr>
        <p:txBody>
          <a:bodyPr>
            <a:normAutofit/>
          </a:bodyPr>
          <a:lstStyle>
            <a:lvl1pPr marL="179388" indent="-179388"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11"/>
          </p:nvPr>
        </p:nvSpPr>
        <p:spPr>
          <a:xfrm>
            <a:off x="215900" y="1592263"/>
            <a:ext cx="1116013" cy="4608512"/>
          </a:xfrm>
        </p:spPr>
        <p:txBody>
          <a:bodyPr tIns="36000" spcCol="396000">
            <a:noAutofit/>
          </a:bodyPr>
          <a:lstStyle>
            <a:lvl1pPr marL="0" indent="0">
              <a:buClr>
                <a:schemeClr val="accent2"/>
              </a:buClr>
              <a:buFont typeface="+mj-lt"/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0" y="660363"/>
            <a:ext cx="9144000" cy="467099"/>
          </a:xfrm>
        </p:spPr>
        <p:txBody>
          <a:bodyPr lIns="187200" rIns="216000"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800" kern="1200" dirty="0" smtClean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2271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76376" y="1592263"/>
            <a:ext cx="3019425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1" y="1592263"/>
            <a:ext cx="3019425" cy="22272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1" y="3971925"/>
            <a:ext cx="3019425" cy="2228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hpContentSlideFooter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© ABB Group </a:t>
            </a:r>
          </a:p>
          <a:p>
            <a:pPr>
              <a:defRPr/>
            </a:pPr>
            <a:fld id="{9E293DA8-7438-4481-9275-3461C4DB5F8D}" type="datetime4">
              <a:rPr lang="en-US"/>
              <a:pPr>
                <a:defRPr/>
              </a:pPr>
              <a:t>February 10, 2014</a:t>
            </a:fld>
            <a:r>
              <a:rPr lang="en-US"/>
              <a:t> | Slide </a:t>
            </a:r>
            <a:fld id="{AA00482B-3722-42CD-A52C-DBBFDCAB47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027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8928100" cy="11274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215900" y="1592263"/>
            <a:ext cx="8712200" cy="460851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15899" y="6200776"/>
            <a:ext cx="2374901" cy="657224"/>
          </a:xfrm>
          <a:prstGeom prst="rect">
            <a:avLst/>
          </a:prstGeom>
        </p:spPr>
        <p:txBody>
          <a:bodyPr lIns="0" tIns="0" rIns="0" bIns="198000" anchor="b" anchorCtr="0"/>
          <a:lstStyle/>
          <a:p>
            <a:endParaRPr lang="en-US" sz="600" dirty="0">
              <a:solidFill>
                <a:srgbClr val="000000"/>
              </a:solidFill>
              <a:cs typeface="Arial" pitchFamily="34" charset="0"/>
            </a:endParaRPr>
          </a:p>
          <a:p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© ABB Group</a:t>
            </a:r>
            <a:endParaRPr lang="de-DE" sz="600" dirty="0">
              <a:solidFill>
                <a:srgbClr val="000000"/>
              </a:solidFill>
              <a:cs typeface="Arial" pitchFamily="34" charset="0"/>
            </a:endParaRPr>
          </a:p>
          <a:p>
            <a:fld id="{CFB884F6-5C41-4F29-A188-5B766EEA4B94}" type="datetime4">
              <a:rPr lang="en-US" sz="600">
                <a:solidFill>
                  <a:srgbClr val="000000"/>
                </a:solidFill>
                <a:cs typeface="Arial" pitchFamily="34" charset="0"/>
              </a:rPr>
              <a:pPr/>
              <a:t>February 10, 2014</a:t>
            </a:fld>
            <a:r>
              <a:rPr lang="de-DE" sz="6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| </a:t>
            </a:r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Slide </a:t>
            </a:r>
            <a:fld id="{034DB2BE-7F3D-443E-9208-5F2182A8E656}" type="slidenum">
              <a:rPr lang="de-DE" sz="600">
                <a:solidFill>
                  <a:srgbClr val="000000"/>
                </a:solidFill>
                <a:cs typeface="Arial" pitchFamily="34" charset="0"/>
              </a:rPr>
              <a:pPr/>
              <a:t>‹#›</a:t>
            </a:fld>
            <a:endParaRPr lang="de-DE" sz="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0" y="660363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800" kern="1200" dirty="0" smtClean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8824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15900" y="1592263"/>
            <a:ext cx="8712200" cy="46085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803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efaul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pic>
        <p:nvPicPr>
          <p:cNvPr id="2051" name="Picture 3" descr="ABB2logo RGB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21525" y="6392863"/>
            <a:ext cx="1795463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14313" y="225425"/>
            <a:ext cx="8713787" cy="3602038"/>
          </a:xfrm>
          <a:prstGeom prst="rect">
            <a:avLst/>
          </a:prstGeom>
          <a:noFill/>
        </p:spPr>
      </p:pic>
      <p:sp>
        <p:nvSpPr>
          <p:cNvPr id="14" name="Titel 1"/>
          <p:cNvSpPr>
            <a:spLocks noGrp="1"/>
          </p:cNvSpPr>
          <p:nvPr>
            <p:ph type="ctrTitle"/>
          </p:nvPr>
        </p:nvSpPr>
        <p:spPr>
          <a:xfrm>
            <a:off x="215900" y="4181485"/>
            <a:ext cx="8712200" cy="2019289"/>
          </a:xfrm>
        </p:spPr>
        <p:txBody>
          <a:bodyPr lIns="14400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5" name="Untertitel 2"/>
          <p:cNvSpPr>
            <a:spLocks noGrp="1"/>
          </p:cNvSpPr>
          <p:nvPr>
            <p:ph type="subTitle" idx="1"/>
          </p:nvPr>
        </p:nvSpPr>
        <p:spPr>
          <a:xfrm>
            <a:off x="215900" y="4740195"/>
            <a:ext cx="8712200" cy="1460580"/>
          </a:xfrm>
        </p:spPr>
        <p:txBody>
          <a:bodyPr vert="horz" lIns="14400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15900" y="3968750"/>
            <a:ext cx="8712200" cy="216000"/>
          </a:xfrm>
        </p:spPr>
        <p:txBody>
          <a:bodyPr vert="horz" lIns="144000" tIns="0" rIns="0" bIns="0" rtlCol="0" anchor="t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004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pic>
        <p:nvPicPr>
          <p:cNvPr id="3075" name="Picture 3" descr="ABB2logo RGB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21525" y="6392863"/>
            <a:ext cx="1795463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>
          <a:xfrm>
            <a:off x="214314" y="225426"/>
            <a:ext cx="8702674" cy="359886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ctrTitle"/>
          </p:nvPr>
        </p:nvSpPr>
        <p:spPr>
          <a:xfrm>
            <a:off x="215900" y="4181485"/>
            <a:ext cx="8712200" cy="2019289"/>
          </a:xfrm>
        </p:spPr>
        <p:txBody>
          <a:bodyPr lIns="14400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3" name="Untertitel 2"/>
          <p:cNvSpPr>
            <a:spLocks noGrp="1"/>
          </p:cNvSpPr>
          <p:nvPr>
            <p:ph type="subTitle" idx="1"/>
          </p:nvPr>
        </p:nvSpPr>
        <p:spPr>
          <a:xfrm>
            <a:off x="215900" y="4740195"/>
            <a:ext cx="8712200" cy="1460580"/>
          </a:xfrm>
        </p:spPr>
        <p:txBody>
          <a:bodyPr vert="horz" lIns="14400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15900" y="3968750"/>
            <a:ext cx="8712200" cy="216000"/>
          </a:xfrm>
        </p:spPr>
        <p:txBody>
          <a:bodyPr vert="horz" lIns="144000" tIns="0" rIns="0" bIns="0" rtlCol="0" anchor="t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7644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pic>
        <p:nvPicPr>
          <p:cNvPr id="4099" name="Picture 3" descr="ABB2logo RGB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21525" y="6392863"/>
            <a:ext cx="1795463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215900" y="225425"/>
            <a:ext cx="8712200" cy="3970348"/>
          </a:xfrm>
        </p:spPr>
        <p:txBody>
          <a:bodyPr lIns="144000" tIns="144000" rIns="0" bIns="0" anchor="t">
            <a:normAutofit/>
          </a:bodyPr>
          <a:lstStyle>
            <a:lvl1pPr algn="l">
              <a:defRPr sz="54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15900" y="5254650"/>
            <a:ext cx="8712200" cy="203175"/>
          </a:xfrm>
        </p:spPr>
        <p:txBody>
          <a:bodyPr vert="horz" lIns="144000" tIns="0" rIns="0" bIns="0" rtlCol="0" anchor="t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12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3459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21D7C4AB-ACE5-499A-A7BC-8972FCC4956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69156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Bildplatzhalter 9"/>
          <p:cNvSpPr>
            <a:spLocks noGrp="1"/>
          </p:cNvSpPr>
          <p:nvPr>
            <p:ph type="pic" sz="quarter" idx="12"/>
          </p:nvPr>
        </p:nvSpPr>
        <p:spPr>
          <a:xfrm>
            <a:off x="214313" y="225425"/>
            <a:ext cx="8713787" cy="3598863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215900" y="4181485"/>
            <a:ext cx="8712200" cy="2019289"/>
          </a:xfrm>
        </p:spPr>
        <p:txBody>
          <a:bodyPr lIns="14400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" name="Untertitel 2"/>
          <p:cNvSpPr>
            <a:spLocks noGrp="1"/>
          </p:cNvSpPr>
          <p:nvPr>
            <p:ph type="subTitle" idx="1"/>
          </p:nvPr>
        </p:nvSpPr>
        <p:spPr>
          <a:xfrm>
            <a:off x="215900" y="4740195"/>
            <a:ext cx="8712200" cy="1460580"/>
          </a:xfrm>
        </p:spPr>
        <p:txBody>
          <a:bodyPr vert="horz" lIns="14400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4000" kern="1200" dirty="0">
                <a:solidFill>
                  <a:schemeClr val="accent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24348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15900" y="225425"/>
            <a:ext cx="8712200" cy="5975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215900" y="225424"/>
            <a:ext cx="8712200" cy="5975351"/>
          </a:xfrm>
        </p:spPr>
        <p:txBody>
          <a:bodyPr vert="horz" lIns="144000" tIns="14400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5400" kern="1200" dirty="0" smtClean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288225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1" name="Inhaltsplatzhalter 3"/>
          <p:cNvSpPr>
            <a:spLocks noGrp="1"/>
          </p:cNvSpPr>
          <p:nvPr>
            <p:ph sz="half" idx="2"/>
          </p:nvPr>
        </p:nvSpPr>
        <p:spPr>
          <a:xfrm>
            <a:off x="1476374" y="1592263"/>
            <a:ext cx="6191251" cy="4608512"/>
          </a:xfrm>
        </p:spPr>
        <p:txBody>
          <a:bodyPr>
            <a:normAutofit/>
          </a:bodyPr>
          <a:lstStyle>
            <a:lvl1pPr marL="179388" indent="-179388"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2" name="Inhaltsplatzhalter 3"/>
          <p:cNvSpPr>
            <a:spLocks noGrp="1"/>
          </p:cNvSpPr>
          <p:nvPr>
            <p:ph sz="half" idx="11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  <p:sp>
        <p:nvSpPr>
          <p:cNvPr id="23" name="Untertitel 2"/>
          <p:cNvSpPr>
            <a:spLocks noGrp="1"/>
          </p:cNvSpPr>
          <p:nvPr>
            <p:ph type="subTitle" idx="1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342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3"/>
          <p:cNvSpPr>
            <a:spLocks noGrp="1"/>
          </p:cNvSpPr>
          <p:nvPr>
            <p:ph sz="half" idx="2"/>
          </p:nvPr>
        </p:nvSpPr>
        <p:spPr>
          <a:xfrm>
            <a:off x="1476374" y="1592263"/>
            <a:ext cx="6191251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half" idx="10"/>
          </p:nvPr>
        </p:nvSpPr>
        <p:spPr>
          <a:xfrm>
            <a:off x="1476376" y="3968749"/>
            <a:ext cx="6191250" cy="223202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en-US" smtClean="0"/>
              <a:t>Click to edit Master text styles</a:t>
            </a:r>
          </a:p>
          <a:p>
            <a:pPr marL="179388" marR="0" lvl="1" indent="-179388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en-US" smtClean="0"/>
              <a:t>Second level</a:t>
            </a:r>
          </a:p>
          <a:p>
            <a:pPr marL="179388" marR="0" lvl="2" indent="-179388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en-US" smtClean="0"/>
              <a:t>Third level</a:t>
            </a:r>
          </a:p>
          <a:p>
            <a:pPr marL="179388" marR="0" lvl="3" indent="-179388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en-US" smtClean="0"/>
              <a:t>Fourth level</a:t>
            </a:r>
          </a:p>
          <a:p>
            <a:pPr marL="179388" marR="0" lvl="4" indent="-179388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tabLst/>
              <a:defRPr/>
            </a:pPr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5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719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/>
          <p:cNvSpPr>
            <a:spLocks noGrp="1"/>
          </p:cNvSpPr>
          <p:nvPr>
            <p:ph sz="half" idx="2"/>
          </p:nvPr>
        </p:nvSpPr>
        <p:spPr>
          <a:xfrm>
            <a:off x="1476374" y="1592263"/>
            <a:ext cx="3021013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half" idx="10"/>
          </p:nvPr>
        </p:nvSpPr>
        <p:spPr>
          <a:xfrm>
            <a:off x="1476376" y="3968749"/>
            <a:ext cx="6191250" cy="223202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1"/>
          </p:nvPr>
        </p:nvSpPr>
        <p:spPr>
          <a:xfrm>
            <a:off x="4643438" y="1592263"/>
            <a:ext cx="3024187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790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pictures abov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3"/>
          <p:cNvSpPr>
            <a:spLocks noGrp="1"/>
          </p:cNvSpPr>
          <p:nvPr>
            <p:ph sz="half" idx="2"/>
          </p:nvPr>
        </p:nvSpPr>
        <p:spPr>
          <a:xfrm>
            <a:off x="1476375" y="1592262"/>
            <a:ext cx="1976400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10"/>
          </p:nvPr>
        </p:nvSpPr>
        <p:spPr>
          <a:xfrm>
            <a:off x="1476376" y="3968750"/>
            <a:ext cx="6191250" cy="22320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7" name="Inhaltsplatzhalter 3"/>
          <p:cNvSpPr>
            <a:spLocks noGrp="1"/>
          </p:cNvSpPr>
          <p:nvPr>
            <p:ph sz="half" idx="11"/>
          </p:nvPr>
        </p:nvSpPr>
        <p:spPr>
          <a:xfrm>
            <a:off x="3583800" y="1592263"/>
            <a:ext cx="1976400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Inhaltsplatzhalter 3"/>
          <p:cNvSpPr>
            <a:spLocks noGrp="1"/>
          </p:cNvSpPr>
          <p:nvPr>
            <p:ph sz="half" idx="12"/>
          </p:nvPr>
        </p:nvSpPr>
        <p:spPr>
          <a:xfrm>
            <a:off x="5691225" y="1592262"/>
            <a:ext cx="1976400" cy="2232025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1" name="Untertitel 2"/>
          <p:cNvSpPr>
            <a:spLocks noGrp="1"/>
          </p:cNvSpPr>
          <p:nvPr>
            <p:ph type="subTitle" idx="1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134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half" idx="1"/>
          </p:nvPr>
        </p:nvSpPr>
        <p:spPr>
          <a:xfrm>
            <a:off x="1476375" y="1592263"/>
            <a:ext cx="3019424" cy="4608512"/>
          </a:xfrm>
        </p:spPr>
        <p:txBody>
          <a:bodyPr vert="horz" lIns="0" tIns="0" rIns="0" bIns="0" rtlCol="0">
            <a:normAutofit/>
          </a:bodyPr>
          <a:lstStyle>
            <a:lvl1pPr marL="179388" indent="-179388"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lang="de-DE" sz="18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Inhaltsplatzhalter 3"/>
          <p:cNvSpPr>
            <a:spLocks noGrp="1"/>
          </p:cNvSpPr>
          <p:nvPr>
            <p:ph sz="half" idx="2"/>
          </p:nvPr>
        </p:nvSpPr>
        <p:spPr>
          <a:xfrm>
            <a:off x="4643438" y="1592263"/>
            <a:ext cx="3024187" cy="4608511"/>
          </a:xfrm>
        </p:spPr>
        <p:txBody>
          <a:bodyPr vert="horz" lIns="0" tIns="0" rIns="0" bIns="0" rtlCol="0">
            <a:normAutofit/>
          </a:bodyPr>
          <a:lstStyle>
            <a:lvl1pPr marL="179388" indent="-179388"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914400" rtl="0" eaLnBrk="1" latinLnBrk="0" hangingPunct="1">
              <a:spcBef>
                <a:spcPts val="1100"/>
              </a:spcBef>
              <a:buClr>
                <a:schemeClr val="tx2"/>
              </a:buClr>
              <a:buFont typeface="Wingdings" pitchFamily="2" charset="2"/>
              <a:buChar char="§"/>
              <a:defRPr lang="de-DE" sz="14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lang="de-DE" sz="1800" b="1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5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640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pictures bes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1476374" y="1592263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1"/>
          </p:nvPr>
        </p:nvSpPr>
        <p:spPr>
          <a:xfrm>
            <a:off x="1476374" y="3968750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half" idx="2"/>
          </p:nvPr>
        </p:nvSpPr>
        <p:spPr>
          <a:xfrm>
            <a:off x="4646612" y="1592263"/>
            <a:ext cx="3021013" cy="46085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6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8" name="Untertitel 2"/>
          <p:cNvSpPr>
            <a:spLocks noGrp="1"/>
          </p:cNvSpPr>
          <p:nvPr>
            <p:ph type="subTitle" idx="15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536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1476374" y="1592263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1"/>
          </p:nvPr>
        </p:nvSpPr>
        <p:spPr>
          <a:xfrm>
            <a:off x="1476374" y="3968750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2"/>
          </p:nvPr>
        </p:nvSpPr>
        <p:spPr>
          <a:xfrm>
            <a:off x="4643436" y="1592263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3"/>
          </p:nvPr>
        </p:nvSpPr>
        <p:spPr>
          <a:xfrm>
            <a:off x="4643436" y="3968750"/>
            <a:ext cx="3024189" cy="2232025"/>
          </a:xfrm>
        </p:spPr>
        <p:txBody>
          <a:bodyPr/>
          <a:lstStyle>
            <a:lvl1pPr>
              <a:buClr>
                <a:schemeClr val="accent1"/>
              </a:buClr>
              <a:buNone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215900" y="1592263"/>
            <a:ext cx="1116013" cy="4608512"/>
          </a:xfrm>
        </p:spPr>
        <p:txBody>
          <a:bodyPr lIns="0" tIns="36000" rIns="0" bIns="0" numCol="1" spcCol="396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+mj-lt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21" name="Untertitel 2"/>
          <p:cNvSpPr>
            <a:spLocks noGrp="1"/>
          </p:cNvSpPr>
          <p:nvPr>
            <p:ph type="subTitle" idx="15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350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215900" y="1592263"/>
            <a:ext cx="8712200" cy="460851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0"/>
          </p:nvPr>
        </p:nvSpPr>
        <p:spPr>
          <a:xfrm>
            <a:off x="0" y="694799"/>
            <a:ext cx="9144000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727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customXml" Target="../../customXml/item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customXml" Target="../../customXml/item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6.jpe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image" Target="../media/image7.jpe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6" Type="http://schemas.openxmlformats.org/officeDocument/2006/relationships/image" Target="../media/image10.jpe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image" Target="../media/image11.jpeg"/><Relationship Id="rId2" Type="http://schemas.openxmlformats.org/officeDocument/2006/relationships/slideLayout" Target="../slideLayouts/slideLayout73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89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7200" tIns="313200" rIns="21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101" name="Rectangle 7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76375" y="1592263"/>
            <a:ext cx="6191250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grpSp>
        <p:nvGrpSpPr>
          <p:cNvPr id="1258" name="shpGridNormal" hidden="1"/>
          <p:cNvGrpSpPr>
            <a:grpSpLocks/>
          </p:cNvGrpSpPr>
          <p:nvPr/>
        </p:nvGrpSpPr>
        <p:grpSpPr bwMode="auto">
          <a:xfrm>
            <a:off x="325438" y="434975"/>
            <a:ext cx="8496300" cy="5983288"/>
            <a:chOff x="292" y="389"/>
            <a:chExt cx="7611" cy="5361"/>
          </a:xfrm>
        </p:grpSpPr>
        <p:sp>
          <p:nvSpPr>
            <p:cNvPr id="1259" name="Rectangle 235" hidden="1"/>
            <p:cNvSpPr>
              <a:spLocks noChangeArrowheads="1"/>
            </p:cNvSpPr>
            <p:nvPr userDrawn="1"/>
          </p:nvSpPr>
          <p:spPr bwMode="auto">
            <a:xfrm>
              <a:off x="292" y="389"/>
              <a:ext cx="7610" cy="5361"/>
            </a:xfrm>
            <a:prstGeom prst="rect">
              <a:avLst/>
            </a:prstGeom>
            <a:noFill/>
            <a:ln w="19050">
              <a:solidFill>
                <a:srgbClr val="8BA2B2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8E0E5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642938" fontAlgn="base">
                <a:spcBef>
                  <a:spcPct val="0"/>
                </a:spcBef>
                <a:spcAft>
                  <a:spcPct val="0"/>
                </a:spcAft>
              </a:pPr>
              <a:endParaRPr lang="en-GB" sz="1700">
                <a:solidFill>
                  <a:srgbClr val="000000"/>
                </a:solidFill>
              </a:endParaRPr>
            </a:p>
          </p:txBody>
        </p:sp>
        <p:sp>
          <p:nvSpPr>
            <p:cNvPr id="1260" name="Line 236" hidden="1"/>
            <p:cNvSpPr>
              <a:spLocks noChangeShapeType="1"/>
            </p:cNvSpPr>
            <p:nvPr userDrawn="1"/>
          </p:nvSpPr>
          <p:spPr bwMode="auto">
            <a:xfrm>
              <a:off x="311" y="927"/>
              <a:ext cx="756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1" name="Line 237" hidden="1"/>
            <p:cNvSpPr>
              <a:spLocks noChangeShapeType="1"/>
            </p:cNvSpPr>
            <p:nvPr userDrawn="1"/>
          </p:nvSpPr>
          <p:spPr bwMode="auto">
            <a:xfrm>
              <a:off x="311" y="1460"/>
              <a:ext cx="759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2" name="Line 238" hidden="1"/>
            <p:cNvSpPr>
              <a:spLocks noChangeShapeType="1"/>
            </p:cNvSpPr>
            <p:nvPr userDrawn="1"/>
          </p:nvSpPr>
          <p:spPr bwMode="auto">
            <a:xfrm>
              <a:off x="311" y="2002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3" name="Line 239" hidden="1"/>
            <p:cNvSpPr>
              <a:spLocks noChangeShapeType="1"/>
            </p:cNvSpPr>
            <p:nvPr userDrawn="1"/>
          </p:nvSpPr>
          <p:spPr bwMode="auto">
            <a:xfrm>
              <a:off x="311" y="2531"/>
              <a:ext cx="7584" cy="2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4" name="Line 240" hidden="1"/>
            <p:cNvSpPr>
              <a:spLocks noChangeShapeType="1"/>
            </p:cNvSpPr>
            <p:nvPr userDrawn="1"/>
          </p:nvSpPr>
          <p:spPr bwMode="auto">
            <a:xfrm>
              <a:off x="311" y="3067"/>
              <a:ext cx="7588" cy="2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5" name="Line 241" hidden="1"/>
            <p:cNvSpPr>
              <a:spLocks noChangeShapeType="1"/>
            </p:cNvSpPr>
            <p:nvPr userDrawn="1"/>
          </p:nvSpPr>
          <p:spPr bwMode="auto">
            <a:xfrm>
              <a:off x="311" y="3604"/>
              <a:ext cx="759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6" name="Line 242" hidden="1"/>
            <p:cNvSpPr>
              <a:spLocks noChangeShapeType="1"/>
            </p:cNvSpPr>
            <p:nvPr userDrawn="1"/>
          </p:nvSpPr>
          <p:spPr bwMode="auto">
            <a:xfrm>
              <a:off x="311" y="4144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7" name="Line 243" hidden="1"/>
            <p:cNvSpPr>
              <a:spLocks noChangeShapeType="1"/>
            </p:cNvSpPr>
            <p:nvPr userDrawn="1"/>
          </p:nvSpPr>
          <p:spPr bwMode="auto">
            <a:xfrm>
              <a:off x="293" y="4679"/>
              <a:ext cx="760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8" name="Line 244" hidden="1"/>
            <p:cNvSpPr>
              <a:spLocks noChangeShapeType="1"/>
            </p:cNvSpPr>
            <p:nvPr userDrawn="1"/>
          </p:nvSpPr>
          <p:spPr bwMode="auto">
            <a:xfrm>
              <a:off x="293" y="5216"/>
              <a:ext cx="7604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9" name="Line 245" hidden="1"/>
            <p:cNvSpPr>
              <a:spLocks noChangeShapeType="1"/>
            </p:cNvSpPr>
            <p:nvPr userDrawn="1"/>
          </p:nvSpPr>
          <p:spPr bwMode="auto">
            <a:xfrm>
              <a:off x="128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0" name="Line 246" hidden="1"/>
            <p:cNvSpPr>
              <a:spLocks noChangeShapeType="1"/>
            </p:cNvSpPr>
            <p:nvPr userDrawn="1"/>
          </p:nvSpPr>
          <p:spPr bwMode="auto">
            <a:xfrm>
              <a:off x="139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1" name="Line 247" hidden="1"/>
            <p:cNvSpPr>
              <a:spLocks noChangeShapeType="1"/>
            </p:cNvSpPr>
            <p:nvPr userDrawn="1"/>
          </p:nvSpPr>
          <p:spPr bwMode="auto">
            <a:xfrm>
              <a:off x="2383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2" name="Line 248" hidden="1"/>
            <p:cNvSpPr>
              <a:spLocks noChangeShapeType="1"/>
            </p:cNvSpPr>
            <p:nvPr userDrawn="1"/>
          </p:nvSpPr>
          <p:spPr bwMode="auto">
            <a:xfrm>
              <a:off x="2497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273" name="Group 249" hidden="1"/>
            <p:cNvGrpSpPr>
              <a:grpSpLocks/>
            </p:cNvGrpSpPr>
            <p:nvPr userDrawn="1"/>
          </p:nvGrpSpPr>
          <p:grpSpPr bwMode="auto">
            <a:xfrm>
              <a:off x="3485" y="390"/>
              <a:ext cx="112" cy="5354"/>
              <a:chOff x="3485" y="390"/>
              <a:chExt cx="112" cy="5354"/>
            </a:xfrm>
          </p:grpSpPr>
          <p:sp>
            <p:nvSpPr>
              <p:cNvPr id="1274" name="Line 250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75" name="Line 251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276" name="Line 252" hidden="1"/>
            <p:cNvSpPr>
              <a:spLocks noChangeShapeType="1"/>
            </p:cNvSpPr>
            <p:nvPr userDrawn="1"/>
          </p:nvSpPr>
          <p:spPr bwMode="auto">
            <a:xfrm>
              <a:off x="4094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277" name="Group 253" hidden="1"/>
            <p:cNvGrpSpPr>
              <a:grpSpLocks/>
            </p:cNvGrpSpPr>
            <p:nvPr userDrawn="1"/>
          </p:nvGrpSpPr>
          <p:grpSpPr bwMode="auto">
            <a:xfrm>
              <a:off x="4592" y="390"/>
              <a:ext cx="114" cy="5354"/>
              <a:chOff x="4592" y="390"/>
              <a:chExt cx="114" cy="5354"/>
            </a:xfrm>
          </p:grpSpPr>
          <p:sp>
            <p:nvSpPr>
              <p:cNvPr id="1278" name="Line 254" hidden="1"/>
              <p:cNvSpPr>
                <a:spLocks noChangeShapeType="1"/>
              </p:cNvSpPr>
              <p:nvPr userDrawn="1"/>
            </p:nvSpPr>
            <p:spPr bwMode="auto">
              <a:xfrm>
                <a:off x="4592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79" name="Line 255" hidden="1"/>
              <p:cNvSpPr>
                <a:spLocks noChangeShapeType="1"/>
              </p:cNvSpPr>
              <p:nvPr userDrawn="1"/>
            </p:nvSpPr>
            <p:spPr bwMode="auto">
              <a:xfrm>
                <a:off x="4706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280" name="Line 256" hidden="1"/>
            <p:cNvSpPr>
              <a:spLocks noChangeShapeType="1"/>
            </p:cNvSpPr>
            <p:nvPr userDrawn="1"/>
          </p:nvSpPr>
          <p:spPr bwMode="auto">
            <a:xfrm>
              <a:off x="5696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1" name="Line 257" hidden="1"/>
            <p:cNvSpPr>
              <a:spLocks noChangeShapeType="1"/>
            </p:cNvSpPr>
            <p:nvPr userDrawn="1"/>
          </p:nvSpPr>
          <p:spPr bwMode="auto">
            <a:xfrm>
              <a:off x="581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2" name="Line 258" hidden="1"/>
            <p:cNvSpPr>
              <a:spLocks noChangeShapeType="1"/>
            </p:cNvSpPr>
            <p:nvPr userDrawn="1"/>
          </p:nvSpPr>
          <p:spPr bwMode="auto">
            <a:xfrm>
              <a:off x="680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3" name="Line 259" hidden="1"/>
            <p:cNvSpPr>
              <a:spLocks noChangeShapeType="1"/>
            </p:cNvSpPr>
            <p:nvPr userDrawn="1"/>
          </p:nvSpPr>
          <p:spPr bwMode="auto">
            <a:xfrm>
              <a:off x="6914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48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284" name="Group 260" hidden="1"/>
            <p:cNvGrpSpPr>
              <a:grpSpLocks/>
            </p:cNvGrpSpPr>
            <p:nvPr userDrawn="1"/>
          </p:nvGrpSpPr>
          <p:grpSpPr bwMode="auto">
            <a:xfrm>
              <a:off x="4038" y="390"/>
              <a:ext cx="112" cy="5354"/>
              <a:chOff x="3485" y="390"/>
              <a:chExt cx="112" cy="5354"/>
            </a:xfrm>
          </p:grpSpPr>
          <p:sp>
            <p:nvSpPr>
              <p:cNvPr id="1285" name="Line 261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86" name="Line 262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48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10" name="shpContentSlideFooter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5900" y="6200775"/>
            <a:ext cx="2808288" cy="65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98000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5000"/>
              </a:lnSpc>
              <a:spcBef>
                <a:spcPct val="0"/>
              </a:spcBef>
              <a:buClrTx/>
              <a:buSzTx/>
              <a:buFontTx/>
              <a:buNone/>
              <a:defRPr sz="600">
                <a:solidFill>
                  <a:srgbClr val="666666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endParaRPr lang="en-US"/>
          </a:p>
          <a:p>
            <a:pPr fontAlgn="base">
              <a:spcAft>
                <a:spcPct val="0"/>
              </a:spcAft>
            </a:pPr>
            <a:r>
              <a:rPr lang="en-US"/>
              <a:t>© ABB Group </a:t>
            </a:r>
          </a:p>
          <a:p>
            <a:pPr fontAlgn="base">
              <a:spcAft>
                <a:spcPct val="0"/>
              </a:spcAft>
            </a:pPr>
            <a:fld id="{2AC58C56-DBEC-4AFF-B8F7-6C5985039869}" type="datetime4">
              <a:rPr lang="en-US"/>
              <a:pPr fontAlgn="base">
                <a:spcAft>
                  <a:spcPct val="0"/>
                </a:spcAft>
              </a:pPr>
              <a:t>February 10, 2014</a:t>
            </a:fld>
            <a:r>
              <a:rPr lang="en-US"/>
              <a:t> | Slide </a:t>
            </a:r>
            <a:fld id="{0AF208C0-FB3D-44AF-B581-CEE1885A3110}" type="slidenum">
              <a:rPr lang="en-US"/>
              <a:pPr fontAlgn="base">
                <a:spcAft>
                  <a:spcPct val="0"/>
                </a:spcAft>
              </a:pPr>
              <a:t>‹#›</a:t>
            </a:fld>
            <a:endParaRPr lang="en-US"/>
          </a:p>
        </p:txBody>
      </p:sp>
      <p:pic>
        <p:nvPicPr>
          <p:cNvPr id="1311" name="Picture 287" descr="ABB2logo RGB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99"/>
          <a:stretch>
            <a:fillRect/>
          </a:stretch>
        </p:blipFill>
        <p:spPr bwMode="auto">
          <a:xfrm>
            <a:off x="8245475" y="6392863"/>
            <a:ext cx="671513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9750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182563" indent="-182563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48" charset="2"/>
        <a:buChar char="§"/>
        <a:defRPr>
          <a:solidFill>
            <a:srgbClr val="000000"/>
          </a:solidFill>
          <a:latin typeface="+mn-lt"/>
          <a:ea typeface="+mn-ea"/>
          <a:cs typeface="+mn-cs"/>
        </a:defRPr>
      </a:lvl1pPr>
      <a:lvl2pPr marL="539750" indent="-177800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48" charset="2"/>
        <a:buChar char="§"/>
        <a:defRPr>
          <a:solidFill>
            <a:srgbClr val="000000"/>
          </a:solidFill>
          <a:latin typeface="+mn-lt"/>
        </a:defRPr>
      </a:lvl2pPr>
      <a:lvl3pPr marL="896938" indent="-177800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48" charset="2"/>
        <a:buChar char="§"/>
        <a:defRPr>
          <a:solidFill>
            <a:srgbClr val="000000"/>
          </a:solidFill>
          <a:latin typeface="+mn-lt"/>
        </a:defRPr>
      </a:lvl3pPr>
      <a:lvl4pPr marL="1254125" indent="-174625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48" charset="2"/>
        <a:buChar char="§"/>
        <a:defRPr>
          <a:solidFill>
            <a:srgbClr val="000000"/>
          </a:solidFill>
          <a:latin typeface="+mn-lt"/>
        </a:defRPr>
      </a:lvl4pPr>
      <a:lvl5pPr marL="1611313" indent="-174625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48" charset="2"/>
        <a:buChar char="§"/>
        <a:defRPr>
          <a:solidFill>
            <a:srgbClr val="000000"/>
          </a:solidFill>
          <a:latin typeface="+mn-lt"/>
        </a:defRPr>
      </a:lvl5pPr>
      <a:lvl6pPr marL="2068513" indent="-174625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48" charset="2"/>
        <a:buChar char="§"/>
        <a:defRPr>
          <a:solidFill>
            <a:srgbClr val="000000"/>
          </a:solidFill>
          <a:latin typeface="+mn-lt"/>
        </a:defRPr>
      </a:lvl6pPr>
      <a:lvl7pPr marL="2525713" indent="-174625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48" charset="2"/>
        <a:buChar char="§"/>
        <a:defRPr>
          <a:solidFill>
            <a:srgbClr val="000000"/>
          </a:solidFill>
          <a:latin typeface="+mn-lt"/>
        </a:defRPr>
      </a:lvl7pPr>
      <a:lvl8pPr marL="2982913" indent="-174625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48" charset="2"/>
        <a:buChar char="§"/>
        <a:defRPr>
          <a:solidFill>
            <a:srgbClr val="000000"/>
          </a:solidFill>
          <a:latin typeface="+mn-lt"/>
        </a:defRPr>
      </a:lvl8pPr>
      <a:lvl9pPr marL="3440113" indent="-174625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48" charset="2"/>
        <a:buChar char="§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 descr="ABB2logo RGB"/>
          <p:cNvPicPr>
            <a:picLocks noChangeAspect="1" noChangeArrowheads="1"/>
          </p:cNvPicPr>
          <p:nvPr/>
        </p:nvPicPr>
        <p:blipFill>
          <a:blip r:embed="rId16" cstate="print"/>
          <a:srcRect l="62511"/>
          <a:stretch>
            <a:fillRect/>
          </a:stretch>
        </p:blipFill>
        <p:spPr bwMode="auto">
          <a:xfrm>
            <a:off x="8243888" y="6392863"/>
            <a:ext cx="6731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0" y="0"/>
            <a:ext cx="9144000" cy="1127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7200" tIns="313200" rIns="216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09710" y="1592263"/>
            <a:ext cx="8718389" cy="4608512"/>
          </a:xfrm>
          <a:prstGeom prst="rect">
            <a:avLst/>
          </a:prstGeom>
        </p:spPr>
        <p:txBody>
          <a:bodyPr vert="horz" lIns="83210" tIns="41605" rIns="83210" bIns="41605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Notes"/>
          <p:cNvSpPr txBox="1">
            <a:spLocks noChangeArrowheads="1"/>
          </p:cNvSpPr>
          <p:nvPr/>
        </p:nvSpPr>
        <p:spPr bwMode="auto">
          <a:xfrm>
            <a:off x="215900" y="6200776"/>
            <a:ext cx="8712200" cy="12311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7577" indent="-167577" defTabSz="801767" fontAlgn="t"/>
            <a:endParaRPr lang="en-CA" sz="800" dirty="0">
              <a:solidFill>
                <a:srgbClr val="000000"/>
              </a:solidFill>
            </a:endParaRPr>
          </a:p>
        </p:txBody>
      </p:sp>
      <p:sp>
        <p:nvSpPr>
          <p:cNvPr id="15" name="SlideNumber"/>
          <p:cNvSpPr>
            <a:spLocks/>
          </p:cNvSpPr>
          <p:nvPr/>
        </p:nvSpPr>
        <p:spPr>
          <a:xfrm>
            <a:off x="943719" y="6569117"/>
            <a:ext cx="448518" cy="10887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1605" rIns="0" bIns="41605" rtlCol="0" anchor="ctr"/>
          <a:lstStyle/>
          <a:p>
            <a:pPr defTabSz="893014"/>
            <a:r>
              <a:rPr lang="en-US" sz="600" dirty="0">
                <a:solidFill>
                  <a:srgbClr val="666666"/>
                </a:solidFill>
              </a:rPr>
              <a:t>Slide </a:t>
            </a:r>
            <a:fld id="{BB69BBE8-4DB2-4642-B003-B220ACD5A2FD}" type="slidenum">
              <a:rPr lang="en-US" sz="600">
                <a:solidFill>
                  <a:srgbClr val="666666"/>
                </a:solidFill>
              </a:rPr>
              <a:pPr defTabSz="893014"/>
              <a:t>‹#›</a:t>
            </a:fld>
            <a:endParaRPr lang="fr-FR" sz="600" dirty="0">
              <a:solidFill>
                <a:srgbClr val="666666"/>
              </a:solidFill>
            </a:endParaRPr>
          </a:p>
        </p:txBody>
      </p:sp>
      <p:sp>
        <p:nvSpPr>
          <p:cNvPr id="18" name="SlideNumber"/>
          <p:cNvSpPr/>
          <p:nvPr/>
        </p:nvSpPr>
        <p:spPr>
          <a:xfrm>
            <a:off x="7663212" y="5800527"/>
            <a:ext cx="300772" cy="3032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41605" rIns="0" bIns="41605" rtlCol="0" anchor="ctr"/>
          <a:lstStyle/>
          <a:p>
            <a:pPr algn="ctr" defTabSz="893014"/>
            <a:endParaRPr lang="fr-FR" sz="700" dirty="0">
              <a:solidFill>
                <a:srgbClr val="080808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09710" y="6469015"/>
            <a:ext cx="466474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893014"/>
            <a:r>
              <a:rPr lang="en-US" sz="600" dirty="0">
                <a:solidFill>
                  <a:srgbClr val="666666"/>
                </a:solidFill>
              </a:rPr>
              <a:t>© ABB Group</a:t>
            </a:r>
            <a:endParaRPr lang="de-DE" sz="600" dirty="0">
              <a:solidFill>
                <a:srgbClr val="666666"/>
              </a:solidFill>
            </a:endParaRP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215900" y="6577027"/>
            <a:ext cx="679673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buFontTx/>
              <a:buNone/>
              <a:defRPr sz="600">
                <a:solidFill>
                  <a:schemeClr val="bg2"/>
                </a:solidFill>
              </a:defRPr>
            </a:lvl1pPr>
          </a:lstStyle>
          <a:p>
            <a:pPr marL="247031" indent="-247031" defTabSz="892778" fontAlgn="base">
              <a:spcBef>
                <a:spcPct val="40000"/>
              </a:spcBef>
              <a:spcAft>
                <a:spcPct val="0"/>
              </a:spcAft>
              <a:buClr>
                <a:srgbClr val="002897"/>
              </a:buClr>
              <a:buSzPct val="70000"/>
              <a:defRPr/>
            </a:pPr>
            <a:fld id="{417C9F73-7460-4F55-A061-3AA942458811}" type="datetime4">
              <a:rPr lang="en-US" altLang="zh-CN" noProof="1" smtClean="0">
                <a:solidFill>
                  <a:srgbClr val="666666"/>
                </a:solidFill>
              </a:rPr>
              <a:pPr marL="247031" indent="-247031" defTabSz="892778" fontAlgn="base">
                <a:spcBef>
                  <a:spcPct val="4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defRPr/>
              </a:pPr>
              <a:t>February 10, 2014</a:t>
            </a:fld>
            <a:endParaRPr lang="de-DE" altLang="zh-CN" noProof="1">
              <a:solidFill>
                <a:srgbClr val="666666"/>
              </a:solidFill>
            </a:endParaRPr>
          </a:p>
        </p:txBody>
      </p:sp>
      <p:sp>
        <p:nvSpPr>
          <p:cNvPr id="16" name="CreatedFooter" hidden="1"/>
          <p:cNvSpPr txBox="1"/>
          <p:nvPr/>
        </p:nvSpPr>
        <p:spPr>
          <a:xfrm>
            <a:off x="1262807" y="6515830"/>
            <a:ext cx="2445541" cy="215444"/>
          </a:xfrm>
          <a:prstGeom prst="rect">
            <a:avLst/>
          </a:prstGeom>
          <a:noFill/>
        </p:spPr>
        <p:txBody>
          <a:bodyPr vert="horz" wrap="none" rIns="0" rtlCol="0" anchor="ctr">
            <a:spAutoFit/>
          </a:bodyPr>
          <a:lstStyle/>
          <a:p>
            <a:pPr defTabSz="893014"/>
            <a:r>
              <a:rPr lang="x-none" sz="800">
                <a:solidFill>
                  <a:srgbClr val="000000"/>
                </a:solidFill>
                <a:latin typeface="Verdana"/>
              </a:rPr>
              <a:t>110608 Customer interviews - sample output</a:t>
            </a:r>
            <a:endParaRPr lang="x-none" sz="80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17" name="OfficeCode" hidden="1"/>
          <p:cNvSpPr txBox="1"/>
          <p:nvPr>
            <p:custDataLst>
              <p:tags r:id="rId15"/>
            </p:custDataLst>
          </p:nvPr>
        </p:nvSpPr>
        <p:spPr>
          <a:xfrm>
            <a:off x="3822810" y="6515830"/>
            <a:ext cx="331181" cy="215444"/>
          </a:xfrm>
          <a:prstGeom prst="rect">
            <a:avLst/>
          </a:prstGeom>
          <a:noFill/>
        </p:spPr>
        <p:txBody>
          <a:bodyPr vert="horz" wrap="none" rIns="0" rtlCol="0" anchor="ctr">
            <a:spAutoFit/>
          </a:bodyPr>
          <a:lstStyle/>
          <a:p>
            <a:pPr defTabSz="893014"/>
            <a:r>
              <a:rPr lang="x-none" sz="800">
                <a:solidFill>
                  <a:srgbClr val="000000"/>
                </a:solidFill>
                <a:latin typeface="Verdana"/>
              </a:rPr>
              <a:t>MUN</a:t>
            </a:r>
            <a:endParaRPr lang="x-none" sz="800" dirty="0">
              <a:solidFill>
                <a:srgbClr val="000000"/>
              </a:solidFill>
              <a:latin typeface="Verdana"/>
            </a:endParaRPr>
          </a:p>
        </p:txBody>
      </p:sp>
    </p:spTree>
    <p:custDataLst>
      <p:custData r:id="rId13"/>
      <p:custData r:id="rId14"/>
    </p:custDataLst>
    <p:extLst>
      <p:ext uri="{BB962C8B-B14F-4D97-AF65-F5344CB8AC3E}">
        <p14:creationId xmlns:p14="http://schemas.microsoft.com/office/powerpoint/2010/main" val="2255921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93014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47031" marR="0" indent="-247031" algn="l" defTabSz="892778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tabLst/>
        <a:defRPr kumimoji="0" lang="en-US" altLang="zh-CN" sz="18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22954" marR="0" indent="-108347" algn="l" defTabSz="892778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957787" marR="0" indent="-261478" algn="l" defTabSz="892778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tabLst/>
        <a:defRPr lang="zh-CN" altLang="en-US" sz="16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23045" marR="0" indent="-191384" algn="l" defTabSz="89301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Pct val="70000"/>
        <a:buFont typeface="Wingdings" pitchFamily="2" charset="2"/>
        <a:buChar char="§"/>
        <a:tabLst/>
        <a:defRPr lang="en-CA" altLang="zh-CN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09282" indent="-223254" algn="l" defTabSz="893014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455789" indent="-223254" algn="l" defTabSz="89301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02296" indent="-223254" algn="l" defTabSz="89301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8803" indent="-223254" algn="l" defTabSz="89301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5310" indent="-223254" algn="l" defTabSz="89301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30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507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93014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39521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86028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32535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79042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25549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72056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7200" tIns="313200" rIns="21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1267" name="Rectangle 7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76375" y="1592263"/>
            <a:ext cx="6191250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grpSp>
        <p:nvGrpSpPr>
          <p:cNvPr id="2" name="shpGridNormal" hidden="1"/>
          <p:cNvGrpSpPr>
            <a:grpSpLocks/>
          </p:cNvGrpSpPr>
          <p:nvPr/>
        </p:nvGrpSpPr>
        <p:grpSpPr bwMode="auto">
          <a:xfrm>
            <a:off x="325438" y="434975"/>
            <a:ext cx="8496300" cy="5983288"/>
            <a:chOff x="292" y="389"/>
            <a:chExt cx="7611" cy="5361"/>
          </a:xfrm>
        </p:grpSpPr>
        <p:sp>
          <p:nvSpPr>
            <p:cNvPr id="1259" name="Rectangle 235" hidden="1"/>
            <p:cNvSpPr>
              <a:spLocks noChangeArrowheads="1"/>
            </p:cNvSpPr>
            <p:nvPr userDrawn="1"/>
          </p:nvSpPr>
          <p:spPr bwMode="auto">
            <a:xfrm>
              <a:off x="292" y="389"/>
              <a:ext cx="7610" cy="5361"/>
            </a:xfrm>
            <a:prstGeom prst="rect">
              <a:avLst/>
            </a:prstGeom>
            <a:noFill/>
            <a:ln w="19050">
              <a:solidFill>
                <a:srgbClr val="8BA2B2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6429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700" dirty="0">
                <a:solidFill>
                  <a:srgbClr val="000000"/>
                </a:solidFill>
              </a:endParaRPr>
            </a:p>
          </p:txBody>
        </p:sp>
        <p:sp>
          <p:nvSpPr>
            <p:cNvPr id="1260" name="Line 236" hidden="1"/>
            <p:cNvSpPr>
              <a:spLocks noChangeShapeType="1"/>
            </p:cNvSpPr>
            <p:nvPr userDrawn="1"/>
          </p:nvSpPr>
          <p:spPr bwMode="auto">
            <a:xfrm>
              <a:off x="310" y="927"/>
              <a:ext cx="756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1" name="Line 237" hidden="1"/>
            <p:cNvSpPr>
              <a:spLocks noChangeShapeType="1"/>
            </p:cNvSpPr>
            <p:nvPr userDrawn="1"/>
          </p:nvSpPr>
          <p:spPr bwMode="auto">
            <a:xfrm>
              <a:off x="310" y="1460"/>
              <a:ext cx="7593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2" name="Line 238" hidden="1"/>
            <p:cNvSpPr>
              <a:spLocks noChangeShapeType="1"/>
            </p:cNvSpPr>
            <p:nvPr userDrawn="1"/>
          </p:nvSpPr>
          <p:spPr bwMode="auto">
            <a:xfrm>
              <a:off x="310" y="2002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3" name="Line 239" hidden="1"/>
            <p:cNvSpPr>
              <a:spLocks noChangeShapeType="1"/>
            </p:cNvSpPr>
            <p:nvPr userDrawn="1"/>
          </p:nvSpPr>
          <p:spPr bwMode="auto">
            <a:xfrm>
              <a:off x="310" y="2531"/>
              <a:ext cx="7584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4" name="Line 240" hidden="1"/>
            <p:cNvSpPr>
              <a:spLocks noChangeShapeType="1"/>
            </p:cNvSpPr>
            <p:nvPr userDrawn="1"/>
          </p:nvSpPr>
          <p:spPr bwMode="auto">
            <a:xfrm>
              <a:off x="310" y="3067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5" name="Line 241" hidden="1"/>
            <p:cNvSpPr>
              <a:spLocks noChangeShapeType="1"/>
            </p:cNvSpPr>
            <p:nvPr userDrawn="1"/>
          </p:nvSpPr>
          <p:spPr bwMode="auto">
            <a:xfrm>
              <a:off x="310" y="3604"/>
              <a:ext cx="7593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6" name="Line 242" hidden="1"/>
            <p:cNvSpPr>
              <a:spLocks noChangeShapeType="1"/>
            </p:cNvSpPr>
            <p:nvPr userDrawn="1"/>
          </p:nvSpPr>
          <p:spPr bwMode="auto">
            <a:xfrm>
              <a:off x="310" y="4144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7" name="Line 243" hidden="1"/>
            <p:cNvSpPr>
              <a:spLocks noChangeShapeType="1"/>
            </p:cNvSpPr>
            <p:nvPr userDrawn="1"/>
          </p:nvSpPr>
          <p:spPr bwMode="auto">
            <a:xfrm>
              <a:off x="293" y="4679"/>
              <a:ext cx="7601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8" name="Line 244" hidden="1"/>
            <p:cNvSpPr>
              <a:spLocks noChangeShapeType="1"/>
            </p:cNvSpPr>
            <p:nvPr userDrawn="1"/>
          </p:nvSpPr>
          <p:spPr bwMode="auto">
            <a:xfrm>
              <a:off x="293" y="5217"/>
              <a:ext cx="7604" cy="0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9" name="Line 245" hidden="1"/>
            <p:cNvSpPr>
              <a:spLocks noChangeShapeType="1"/>
            </p:cNvSpPr>
            <p:nvPr userDrawn="1"/>
          </p:nvSpPr>
          <p:spPr bwMode="auto">
            <a:xfrm>
              <a:off x="128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0" name="Line 246" hidden="1"/>
            <p:cNvSpPr>
              <a:spLocks noChangeShapeType="1"/>
            </p:cNvSpPr>
            <p:nvPr userDrawn="1"/>
          </p:nvSpPr>
          <p:spPr bwMode="auto">
            <a:xfrm>
              <a:off x="139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1" name="Line 247" hidden="1"/>
            <p:cNvSpPr>
              <a:spLocks noChangeShapeType="1"/>
            </p:cNvSpPr>
            <p:nvPr userDrawn="1"/>
          </p:nvSpPr>
          <p:spPr bwMode="auto">
            <a:xfrm>
              <a:off x="2382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2" name="Line 248" hidden="1"/>
            <p:cNvSpPr>
              <a:spLocks noChangeShapeType="1"/>
            </p:cNvSpPr>
            <p:nvPr userDrawn="1"/>
          </p:nvSpPr>
          <p:spPr bwMode="auto">
            <a:xfrm>
              <a:off x="2498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249" hidden="1"/>
            <p:cNvGrpSpPr>
              <a:grpSpLocks/>
            </p:cNvGrpSpPr>
            <p:nvPr userDrawn="1"/>
          </p:nvGrpSpPr>
          <p:grpSpPr bwMode="auto">
            <a:xfrm>
              <a:off x="3485" y="390"/>
              <a:ext cx="112" cy="5354"/>
              <a:chOff x="3485" y="390"/>
              <a:chExt cx="112" cy="5354"/>
            </a:xfrm>
          </p:grpSpPr>
          <p:sp>
            <p:nvSpPr>
              <p:cNvPr id="1274" name="Line 250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5" name="Line 251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276" name="Line 252" hidden="1"/>
            <p:cNvSpPr>
              <a:spLocks noChangeShapeType="1"/>
            </p:cNvSpPr>
            <p:nvPr userDrawn="1"/>
          </p:nvSpPr>
          <p:spPr bwMode="auto">
            <a:xfrm>
              <a:off x="4095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4" name="Group 253" hidden="1"/>
            <p:cNvGrpSpPr>
              <a:grpSpLocks/>
            </p:cNvGrpSpPr>
            <p:nvPr userDrawn="1"/>
          </p:nvGrpSpPr>
          <p:grpSpPr bwMode="auto">
            <a:xfrm>
              <a:off x="4592" y="390"/>
              <a:ext cx="114" cy="5354"/>
              <a:chOff x="4592" y="390"/>
              <a:chExt cx="114" cy="5354"/>
            </a:xfrm>
          </p:grpSpPr>
          <p:sp>
            <p:nvSpPr>
              <p:cNvPr id="1278" name="Line 254" hidden="1"/>
              <p:cNvSpPr>
                <a:spLocks noChangeShapeType="1"/>
              </p:cNvSpPr>
              <p:nvPr userDrawn="1"/>
            </p:nvSpPr>
            <p:spPr bwMode="auto">
              <a:xfrm>
                <a:off x="4592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9" name="Line 255" hidden="1"/>
              <p:cNvSpPr>
                <a:spLocks noChangeShapeType="1"/>
              </p:cNvSpPr>
              <p:nvPr userDrawn="1"/>
            </p:nvSpPr>
            <p:spPr bwMode="auto">
              <a:xfrm>
                <a:off x="4706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280" name="Line 256" hidden="1"/>
            <p:cNvSpPr>
              <a:spLocks noChangeShapeType="1"/>
            </p:cNvSpPr>
            <p:nvPr userDrawn="1"/>
          </p:nvSpPr>
          <p:spPr bwMode="auto">
            <a:xfrm>
              <a:off x="5696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1" name="Line 257" hidden="1"/>
            <p:cNvSpPr>
              <a:spLocks noChangeShapeType="1"/>
            </p:cNvSpPr>
            <p:nvPr userDrawn="1"/>
          </p:nvSpPr>
          <p:spPr bwMode="auto">
            <a:xfrm>
              <a:off x="581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2" name="Line 258" hidden="1"/>
            <p:cNvSpPr>
              <a:spLocks noChangeShapeType="1"/>
            </p:cNvSpPr>
            <p:nvPr userDrawn="1"/>
          </p:nvSpPr>
          <p:spPr bwMode="auto">
            <a:xfrm>
              <a:off x="6799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3" name="Line 259" hidden="1"/>
            <p:cNvSpPr>
              <a:spLocks noChangeShapeType="1"/>
            </p:cNvSpPr>
            <p:nvPr userDrawn="1"/>
          </p:nvSpPr>
          <p:spPr bwMode="auto">
            <a:xfrm>
              <a:off x="6915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" name="Group 260" hidden="1"/>
            <p:cNvGrpSpPr>
              <a:grpSpLocks/>
            </p:cNvGrpSpPr>
            <p:nvPr userDrawn="1"/>
          </p:nvGrpSpPr>
          <p:grpSpPr bwMode="auto">
            <a:xfrm>
              <a:off x="4038" y="390"/>
              <a:ext cx="112" cy="5354"/>
              <a:chOff x="3485" y="390"/>
              <a:chExt cx="112" cy="5354"/>
            </a:xfrm>
          </p:grpSpPr>
          <p:sp>
            <p:nvSpPr>
              <p:cNvPr id="1285" name="Line 261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6" name="Line 262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10" name="shpContentSlideFooter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5900" y="6200775"/>
            <a:ext cx="2808288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198000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5000"/>
              </a:lnSpc>
              <a:spcBef>
                <a:spcPct val="0"/>
              </a:spcBef>
              <a:buClrTx/>
              <a:buSzTx/>
              <a:buFontTx/>
              <a:buNone/>
              <a:defRPr sz="600" smtClean="0">
                <a:solidFill>
                  <a:srgbClr val="666666"/>
                </a:solidFill>
                <a:latin typeface="Arial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 dirty="0"/>
          </a:p>
          <a:p>
            <a:pPr fontAlgn="base">
              <a:spcAft>
                <a:spcPct val="0"/>
              </a:spcAft>
              <a:defRPr/>
            </a:pPr>
            <a:r>
              <a:rPr lang="en-US" dirty="0"/>
              <a:t>© ABB Group </a:t>
            </a:r>
          </a:p>
          <a:p>
            <a:pPr fontAlgn="base">
              <a:spcAft>
                <a:spcPct val="0"/>
              </a:spcAft>
              <a:defRPr/>
            </a:pPr>
            <a:fld id="{53AA0439-D829-4C0C-9870-16EB80BBE585}" type="datetime4">
              <a:rPr lang="en-US"/>
              <a:pPr fontAlgn="base">
                <a:spcAft>
                  <a:spcPct val="0"/>
                </a:spcAft>
                <a:defRPr/>
              </a:pPr>
              <a:t>February 10, 2014</a:t>
            </a:fld>
            <a:r>
              <a:rPr lang="en-US" dirty="0"/>
              <a:t> | Slide </a:t>
            </a:r>
            <a:fld id="{21DB8C38-0C5E-49B9-A771-A867CB4B00ED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pic>
        <p:nvPicPr>
          <p:cNvPr id="11270" name="Picture 289" descr="ABB2logo RGB"/>
          <p:cNvPicPr>
            <a:picLocks noChangeAspect="1" noChangeArrowheads="1"/>
          </p:cNvPicPr>
          <p:nvPr/>
        </p:nvPicPr>
        <p:blipFill>
          <a:blip r:embed="rId16" cstate="print"/>
          <a:srcRect l="62511"/>
          <a:stretch>
            <a:fillRect/>
          </a:stretch>
        </p:blipFill>
        <p:spPr bwMode="auto">
          <a:xfrm>
            <a:off x="8243888" y="6392863"/>
            <a:ext cx="6731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85792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182563" indent="-182563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  <a:ea typeface="+mn-ea"/>
          <a:cs typeface="+mn-cs"/>
        </a:defRPr>
      </a:lvl1pPr>
      <a:lvl2pPr marL="539750" indent="-1778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2pPr>
      <a:lvl3pPr marL="896938" indent="-1778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3pPr>
      <a:lvl4pPr marL="1254125" indent="-174625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4pPr>
      <a:lvl5pPr marL="1611313" indent="-174625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5pPr>
      <a:lvl6pPr marL="20685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6pPr>
      <a:lvl7pPr marL="25257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7pPr>
      <a:lvl8pPr marL="29829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8pPr>
      <a:lvl9pPr marL="34401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15900" y="6200776"/>
            <a:ext cx="1260474" cy="657224"/>
          </a:xfrm>
          <a:prstGeom prst="rect">
            <a:avLst/>
          </a:prstGeom>
        </p:spPr>
        <p:txBody>
          <a:bodyPr vert="horz" lIns="0" tIns="0" rIns="0" bIns="198000" rtlCol="0" anchor="b" anchorCtr="0"/>
          <a:lstStyle>
            <a:lvl1pPr marL="0" algn="l" defTabSz="914400" rtl="0" eaLnBrk="1" latinLnBrk="0" hangingPunct="1">
              <a:defRPr lang="de-DE" sz="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2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76374" y="1592264"/>
            <a:ext cx="6191251" cy="46085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027" name="Picture 3" descr="ABB2logo RGB"/>
          <p:cNvPicPr>
            <a:picLocks noChangeAspect="1" noChangeArrowheads="1"/>
          </p:cNvPicPr>
          <p:nvPr/>
        </p:nvPicPr>
        <p:blipFill>
          <a:blip r:embed="rId20"/>
          <a:srcRect l="62511"/>
          <a:stretch>
            <a:fillRect/>
          </a:stretch>
        </p:blipFill>
        <p:spPr bwMode="auto">
          <a:xfrm>
            <a:off x="8243888" y="6392863"/>
            <a:ext cx="6731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>
          <a:xfrm>
            <a:off x="207944" y="6568154"/>
            <a:ext cx="592889" cy="10887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l" defTabSz="914400" rtl="0" eaLnBrk="1" latinLnBrk="0" hangingPunct="1">
              <a:defRPr lang="de-DE" sz="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18319" y="6569118"/>
            <a:ext cx="448519" cy="10887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l" defTabSz="914400" rtl="0" eaLnBrk="1" latinLnBrk="0" hangingPunct="1">
              <a:defRPr lang="de-DE" sz="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dirty="0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2813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kern="1200" baseline="0" dirty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9388" indent="-179388" algn="l" defTabSz="914400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28650" indent="-171450" algn="l" defTabSz="914400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4738" indent="-160338" algn="l" defTabSz="914400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24000" marR="0" indent="-152400" algn="l" defTabSz="914400" rtl="0" eaLnBrk="1" fontAlgn="auto" latinLnBrk="0" hangingPunct="1">
        <a:lnSpc>
          <a:spcPct val="100000"/>
        </a:lnSpc>
        <a:spcBef>
          <a:spcPts val="1100"/>
        </a:spcBef>
        <a:spcAft>
          <a:spcPts val="0"/>
        </a:spcAft>
        <a:buClr>
          <a:schemeClr val="tx2"/>
        </a:buClr>
        <a:buSzPct val="7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1100"/>
        </a:spcBef>
        <a:spcAft>
          <a:spcPts val="0"/>
        </a:spcAft>
        <a:buClr>
          <a:schemeClr val="accent1"/>
        </a:buClr>
        <a:buSzPct val="70000"/>
        <a:buFontTx/>
        <a:buNone/>
        <a:tabLst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7200" tIns="313200" rIns="21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027" name="Rectangle 7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76375" y="1592263"/>
            <a:ext cx="6191250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grpSp>
        <p:nvGrpSpPr>
          <p:cNvPr id="1028" name="shpGridNormal" hidden="1"/>
          <p:cNvGrpSpPr>
            <a:grpSpLocks/>
          </p:cNvGrpSpPr>
          <p:nvPr/>
        </p:nvGrpSpPr>
        <p:grpSpPr bwMode="auto">
          <a:xfrm>
            <a:off x="325438" y="434975"/>
            <a:ext cx="8496300" cy="5983288"/>
            <a:chOff x="292" y="389"/>
            <a:chExt cx="7611" cy="5361"/>
          </a:xfrm>
        </p:grpSpPr>
        <p:sp>
          <p:nvSpPr>
            <p:cNvPr id="1031" name="Rectangle 235" hidden="1"/>
            <p:cNvSpPr>
              <a:spLocks noChangeArrowheads="1"/>
            </p:cNvSpPr>
            <p:nvPr userDrawn="1"/>
          </p:nvSpPr>
          <p:spPr bwMode="auto">
            <a:xfrm>
              <a:off x="292" y="389"/>
              <a:ext cx="7610" cy="5361"/>
            </a:xfrm>
            <a:prstGeom prst="rect">
              <a:avLst/>
            </a:prstGeom>
            <a:noFill/>
            <a:ln w="19050">
              <a:solidFill>
                <a:srgbClr val="8BA2B2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pPr defTabSz="642938" fontAlgn="base">
                <a:spcBef>
                  <a:spcPct val="0"/>
                </a:spcBef>
                <a:spcAft>
                  <a:spcPct val="0"/>
                </a:spcAft>
              </a:pPr>
              <a:endParaRPr lang="en-GB" sz="1700">
                <a:solidFill>
                  <a:srgbClr val="000000"/>
                </a:solidFill>
              </a:endParaRPr>
            </a:p>
          </p:txBody>
        </p:sp>
        <p:sp>
          <p:nvSpPr>
            <p:cNvPr id="1032" name="Line 236" hidden="1"/>
            <p:cNvSpPr>
              <a:spLocks noChangeShapeType="1"/>
            </p:cNvSpPr>
            <p:nvPr userDrawn="1"/>
          </p:nvSpPr>
          <p:spPr bwMode="auto">
            <a:xfrm>
              <a:off x="310" y="927"/>
              <a:ext cx="7567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3" name="Line 237" hidden="1"/>
            <p:cNvSpPr>
              <a:spLocks noChangeShapeType="1"/>
            </p:cNvSpPr>
            <p:nvPr userDrawn="1"/>
          </p:nvSpPr>
          <p:spPr bwMode="auto">
            <a:xfrm>
              <a:off x="310" y="1460"/>
              <a:ext cx="7593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4" name="Line 238" hidden="1"/>
            <p:cNvSpPr>
              <a:spLocks noChangeShapeType="1"/>
            </p:cNvSpPr>
            <p:nvPr userDrawn="1"/>
          </p:nvSpPr>
          <p:spPr bwMode="auto">
            <a:xfrm>
              <a:off x="310" y="2002"/>
              <a:ext cx="7587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5" name="Line 239" hidden="1"/>
            <p:cNvSpPr>
              <a:spLocks noChangeShapeType="1"/>
            </p:cNvSpPr>
            <p:nvPr userDrawn="1"/>
          </p:nvSpPr>
          <p:spPr bwMode="auto">
            <a:xfrm>
              <a:off x="310" y="2531"/>
              <a:ext cx="7584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6" name="Line 240" hidden="1"/>
            <p:cNvSpPr>
              <a:spLocks noChangeShapeType="1"/>
            </p:cNvSpPr>
            <p:nvPr userDrawn="1"/>
          </p:nvSpPr>
          <p:spPr bwMode="auto">
            <a:xfrm>
              <a:off x="310" y="3067"/>
              <a:ext cx="7587" cy="0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7" name="Line 241" hidden="1"/>
            <p:cNvSpPr>
              <a:spLocks noChangeShapeType="1"/>
            </p:cNvSpPr>
            <p:nvPr userDrawn="1"/>
          </p:nvSpPr>
          <p:spPr bwMode="auto">
            <a:xfrm>
              <a:off x="310" y="3604"/>
              <a:ext cx="7593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8" name="Line 242" hidden="1"/>
            <p:cNvSpPr>
              <a:spLocks noChangeShapeType="1"/>
            </p:cNvSpPr>
            <p:nvPr userDrawn="1"/>
          </p:nvSpPr>
          <p:spPr bwMode="auto">
            <a:xfrm>
              <a:off x="310" y="4144"/>
              <a:ext cx="7587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9" name="Line 243" hidden="1"/>
            <p:cNvSpPr>
              <a:spLocks noChangeShapeType="1"/>
            </p:cNvSpPr>
            <p:nvPr userDrawn="1"/>
          </p:nvSpPr>
          <p:spPr bwMode="auto">
            <a:xfrm>
              <a:off x="293" y="4679"/>
              <a:ext cx="7601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0" name="Line 244" hidden="1"/>
            <p:cNvSpPr>
              <a:spLocks noChangeShapeType="1"/>
            </p:cNvSpPr>
            <p:nvPr userDrawn="1"/>
          </p:nvSpPr>
          <p:spPr bwMode="auto">
            <a:xfrm>
              <a:off x="293" y="5217"/>
              <a:ext cx="7604" cy="0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1" name="Line 245" hidden="1"/>
            <p:cNvSpPr>
              <a:spLocks noChangeShapeType="1"/>
            </p:cNvSpPr>
            <p:nvPr userDrawn="1"/>
          </p:nvSpPr>
          <p:spPr bwMode="auto">
            <a:xfrm>
              <a:off x="1280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2" name="Line 246" hidden="1"/>
            <p:cNvSpPr>
              <a:spLocks noChangeShapeType="1"/>
            </p:cNvSpPr>
            <p:nvPr userDrawn="1"/>
          </p:nvSpPr>
          <p:spPr bwMode="auto">
            <a:xfrm>
              <a:off x="139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3" name="Line 247" hidden="1"/>
            <p:cNvSpPr>
              <a:spLocks noChangeShapeType="1"/>
            </p:cNvSpPr>
            <p:nvPr userDrawn="1"/>
          </p:nvSpPr>
          <p:spPr bwMode="auto">
            <a:xfrm>
              <a:off x="2382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4" name="Line 248" hidden="1"/>
            <p:cNvSpPr>
              <a:spLocks noChangeShapeType="1"/>
            </p:cNvSpPr>
            <p:nvPr userDrawn="1"/>
          </p:nvSpPr>
          <p:spPr bwMode="auto">
            <a:xfrm>
              <a:off x="2498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045" name="Group 249" hidden="1"/>
            <p:cNvGrpSpPr>
              <a:grpSpLocks/>
            </p:cNvGrpSpPr>
            <p:nvPr userDrawn="1"/>
          </p:nvGrpSpPr>
          <p:grpSpPr bwMode="auto">
            <a:xfrm>
              <a:off x="3485" y="390"/>
              <a:ext cx="112" cy="5354"/>
              <a:chOff x="3485" y="390"/>
              <a:chExt cx="112" cy="5354"/>
            </a:xfrm>
          </p:grpSpPr>
          <p:sp>
            <p:nvSpPr>
              <p:cNvPr id="1057" name="Line 250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58" name="Line 251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46" name="Line 252" hidden="1"/>
            <p:cNvSpPr>
              <a:spLocks noChangeShapeType="1"/>
            </p:cNvSpPr>
            <p:nvPr userDrawn="1"/>
          </p:nvSpPr>
          <p:spPr bwMode="auto">
            <a:xfrm>
              <a:off x="4095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047" name="Group 253" hidden="1"/>
            <p:cNvGrpSpPr>
              <a:grpSpLocks/>
            </p:cNvGrpSpPr>
            <p:nvPr userDrawn="1"/>
          </p:nvGrpSpPr>
          <p:grpSpPr bwMode="auto">
            <a:xfrm>
              <a:off x="4592" y="390"/>
              <a:ext cx="114" cy="5354"/>
              <a:chOff x="4592" y="390"/>
              <a:chExt cx="114" cy="5354"/>
            </a:xfrm>
          </p:grpSpPr>
          <p:sp>
            <p:nvSpPr>
              <p:cNvPr id="1055" name="Line 254" hidden="1"/>
              <p:cNvSpPr>
                <a:spLocks noChangeShapeType="1"/>
              </p:cNvSpPr>
              <p:nvPr userDrawn="1"/>
            </p:nvSpPr>
            <p:spPr bwMode="auto">
              <a:xfrm>
                <a:off x="4592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56" name="Line 255" hidden="1"/>
              <p:cNvSpPr>
                <a:spLocks noChangeShapeType="1"/>
              </p:cNvSpPr>
              <p:nvPr userDrawn="1"/>
            </p:nvSpPr>
            <p:spPr bwMode="auto">
              <a:xfrm>
                <a:off x="4706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48" name="Line 256" hidden="1"/>
            <p:cNvSpPr>
              <a:spLocks noChangeShapeType="1"/>
            </p:cNvSpPr>
            <p:nvPr userDrawn="1"/>
          </p:nvSpPr>
          <p:spPr bwMode="auto">
            <a:xfrm>
              <a:off x="5696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9" name="Line 257" hidden="1"/>
            <p:cNvSpPr>
              <a:spLocks noChangeShapeType="1"/>
            </p:cNvSpPr>
            <p:nvPr userDrawn="1"/>
          </p:nvSpPr>
          <p:spPr bwMode="auto">
            <a:xfrm>
              <a:off x="581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50" name="Line 258" hidden="1"/>
            <p:cNvSpPr>
              <a:spLocks noChangeShapeType="1"/>
            </p:cNvSpPr>
            <p:nvPr userDrawn="1"/>
          </p:nvSpPr>
          <p:spPr bwMode="auto">
            <a:xfrm>
              <a:off x="6799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51" name="Line 259" hidden="1"/>
            <p:cNvSpPr>
              <a:spLocks noChangeShapeType="1"/>
            </p:cNvSpPr>
            <p:nvPr userDrawn="1"/>
          </p:nvSpPr>
          <p:spPr bwMode="auto">
            <a:xfrm>
              <a:off x="6915" y="390"/>
              <a:ext cx="0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9A2801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052" name="Group 260" hidden="1"/>
            <p:cNvGrpSpPr>
              <a:grpSpLocks/>
            </p:cNvGrpSpPr>
            <p:nvPr userDrawn="1"/>
          </p:nvGrpSpPr>
          <p:grpSpPr bwMode="auto">
            <a:xfrm>
              <a:off x="4038" y="390"/>
              <a:ext cx="112" cy="5354"/>
              <a:chOff x="3485" y="390"/>
              <a:chExt cx="112" cy="5354"/>
            </a:xfrm>
          </p:grpSpPr>
          <p:sp>
            <p:nvSpPr>
              <p:cNvPr id="1053" name="Line 261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54" name="Line 262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9A2801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10" name="shpContentSlideFooter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5900" y="6200775"/>
            <a:ext cx="2808288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198000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5000"/>
              </a:lnSpc>
              <a:spcBef>
                <a:spcPct val="0"/>
              </a:spcBef>
              <a:buClrTx/>
              <a:buSzTx/>
              <a:buFontTx/>
              <a:buNone/>
              <a:defRPr sz="600">
                <a:solidFill>
                  <a:srgbClr val="666666"/>
                </a:solidFill>
                <a:latin typeface="Arial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/>
          </a:p>
          <a:p>
            <a:pPr fontAlgn="base">
              <a:spcAft>
                <a:spcPct val="0"/>
              </a:spcAft>
              <a:defRPr/>
            </a:pPr>
            <a:r>
              <a:rPr lang="en-US"/>
              <a:t>© ABB Group </a:t>
            </a:r>
          </a:p>
          <a:p>
            <a:pPr fontAlgn="base">
              <a:spcAft>
                <a:spcPct val="0"/>
              </a:spcAft>
              <a:defRPr/>
            </a:pPr>
            <a:fld id="{02C0F086-5E05-49AF-A638-18CDB3CBD9A1}" type="datetime4">
              <a:rPr lang="en-US"/>
              <a:pPr fontAlgn="base">
                <a:spcAft>
                  <a:spcPct val="0"/>
                </a:spcAft>
                <a:defRPr/>
              </a:pPr>
              <a:t>February 10, 2014</a:t>
            </a:fld>
            <a:r>
              <a:rPr lang="en-US"/>
              <a:t> | Slide </a:t>
            </a:r>
            <a:fld id="{EF1D39B6-457F-4E73-8698-12E190D3DCAC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pic>
        <p:nvPicPr>
          <p:cNvPr id="1030" name="Picture 289" descr="ABB2logo RGB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1"/>
          <a:stretch>
            <a:fillRect/>
          </a:stretch>
        </p:blipFill>
        <p:spPr bwMode="auto">
          <a:xfrm>
            <a:off x="8243888" y="6392863"/>
            <a:ext cx="67310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66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182563" indent="-182563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  <a:ea typeface="+mn-ea"/>
          <a:cs typeface="+mn-cs"/>
        </a:defRPr>
      </a:lvl1pPr>
      <a:lvl2pPr marL="539750" indent="-1778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2pPr>
      <a:lvl3pPr marL="896938" indent="-177800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3pPr>
      <a:lvl4pPr marL="1254125" indent="-174625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4pPr>
      <a:lvl5pPr marL="1611313" indent="-174625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5pPr>
      <a:lvl6pPr marL="20685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6pPr>
      <a:lvl7pPr marL="25257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7pPr>
      <a:lvl8pPr marL="29829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8pPr>
      <a:lvl9pPr marL="34401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7200" tIns="313200" rIns="21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101" name="Rectangle 7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76375" y="1592263"/>
            <a:ext cx="6191250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grpSp>
        <p:nvGrpSpPr>
          <p:cNvPr id="1258" name="shpGridNormal" hidden="1"/>
          <p:cNvGrpSpPr>
            <a:grpSpLocks/>
          </p:cNvGrpSpPr>
          <p:nvPr/>
        </p:nvGrpSpPr>
        <p:grpSpPr bwMode="auto">
          <a:xfrm>
            <a:off x="325438" y="434975"/>
            <a:ext cx="8496300" cy="5983288"/>
            <a:chOff x="292" y="389"/>
            <a:chExt cx="7611" cy="5361"/>
          </a:xfrm>
        </p:grpSpPr>
        <p:sp>
          <p:nvSpPr>
            <p:cNvPr id="1259" name="Rectangle 235" hidden="1"/>
            <p:cNvSpPr>
              <a:spLocks noChangeArrowheads="1"/>
            </p:cNvSpPr>
            <p:nvPr userDrawn="1"/>
          </p:nvSpPr>
          <p:spPr bwMode="auto">
            <a:xfrm>
              <a:off x="292" y="389"/>
              <a:ext cx="7610" cy="5361"/>
            </a:xfrm>
            <a:prstGeom prst="rect">
              <a:avLst/>
            </a:prstGeom>
            <a:noFill/>
            <a:ln w="19050">
              <a:solidFill>
                <a:srgbClr val="8BA2B2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642938" fontAlgn="base">
                <a:spcBef>
                  <a:spcPct val="0"/>
                </a:spcBef>
                <a:spcAft>
                  <a:spcPct val="0"/>
                </a:spcAft>
              </a:pPr>
              <a:endParaRPr lang="en-GB" sz="1700">
                <a:solidFill>
                  <a:srgbClr val="000000"/>
                </a:solidFill>
              </a:endParaRPr>
            </a:p>
          </p:txBody>
        </p:sp>
        <p:sp>
          <p:nvSpPr>
            <p:cNvPr id="1260" name="Line 236" hidden="1"/>
            <p:cNvSpPr>
              <a:spLocks noChangeShapeType="1"/>
            </p:cNvSpPr>
            <p:nvPr userDrawn="1"/>
          </p:nvSpPr>
          <p:spPr bwMode="auto">
            <a:xfrm>
              <a:off x="311" y="927"/>
              <a:ext cx="756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1" name="Line 237" hidden="1"/>
            <p:cNvSpPr>
              <a:spLocks noChangeShapeType="1"/>
            </p:cNvSpPr>
            <p:nvPr userDrawn="1"/>
          </p:nvSpPr>
          <p:spPr bwMode="auto">
            <a:xfrm>
              <a:off x="311" y="1460"/>
              <a:ext cx="759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2" name="Line 238" hidden="1"/>
            <p:cNvSpPr>
              <a:spLocks noChangeShapeType="1"/>
            </p:cNvSpPr>
            <p:nvPr userDrawn="1"/>
          </p:nvSpPr>
          <p:spPr bwMode="auto">
            <a:xfrm>
              <a:off x="311" y="2002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3" name="Line 239" hidden="1"/>
            <p:cNvSpPr>
              <a:spLocks noChangeShapeType="1"/>
            </p:cNvSpPr>
            <p:nvPr userDrawn="1"/>
          </p:nvSpPr>
          <p:spPr bwMode="auto">
            <a:xfrm>
              <a:off x="311" y="2531"/>
              <a:ext cx="7584" cy="2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4" name="Line 240" hidden="1"/>
            <p:cNvSpPr>
              <a:spLocks noChangeShapeType="1"/>
            </p:cNvSpPr>
            <p:nvPr userDrawn="1"/>
          </p:nvSpPr>
          <p:spPr bwMode="auto">
            <a:xfrm>
              <a:off x="311" y="3067"/>
              <a:ext cx="7588" cy="2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5" name="Line 241" hidden="1"/>
            <p:cNvSpPr>
              <a:spLocks noChangeShapeType="1"/>
            </p:cNvSpPr>
            <p:nvPr userDrawn="1"/>
          </p:nvSpPr>
          <p:spPr bwMode="auto">
            <a:xfrm>
              <a:off x="311" y="3604"/>
              <a:ext cx="759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6" name="Line 242" hidden="1"/>
            <p:cNvSpPr>
              <a:spLocks noChangeShapeType="1"/>
            </p:cNvSpPr>
            <p:nvPr userDrawn="1"/>
          </p:nvSpPr>
          <p:spPr bwMode="auto">
            <a:xfrm>
              <a:off x="311" y="4144"/>
              <a:ext cx="7588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7" name="Line 243" hidden="1"/>
            <p:cNvSpPr>
              <a:spLocks noChangeShapeType="1"/>
            </p:cNvSpPr>
            <p:nvPr userDrawn="1"/>
          </p:nvSpPr>
          <p:spPr bwMode="auto">
            <a:xfrm>
              <a:off x="293" y="4679"/>
              <a:ext cx="7602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8" name="Line 244" hidden="1"/>
            <p:cNvSpPr>
              <a:spLocks noChangeShapeType="1"/>
            </p:cNvSpPr>
            <p:nvPr userDrawn="1"/>
          </p:nvSpPr>
          <p:spPr bwMode="auto">
            <a:xfrm>
              <a:off x="293" y="5216"/>
              <a:ext cx="7604" cy="1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9" name="Line 245" hidden="1"/>
            <p:cNvSpPr>
              <a:spLocks noChangeShapeType="1"/>
            </p:cNvSpPr>
            <p:nvPr userDrawn="1"/>
          </p:nvSpPr>
          <p:spPr bwMode="auto">
            <a:xfrm>
              <a:off x="128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0" name="Line 246" hidden="1"/>
            <p:cNvSpPr>
              <a:spLocks noChangeShapeType="1"/>
            </p:cNvSpPr>
            <p:nvPr userDrawn="1"/>
          </p:nvSpPr>
          <p:spPr bwMode="auto">
            <a:xfrm>
              <a:off x="1391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1" name="Line 247" hidden="1"/>
            <p:cNvSpPr>
              <a:spLocks noChangeShapeType="1"/>
            </p:cNvSpPr>
            <p:nvPr userDrawn="1"/>
          </p:nvSpPr>
          <p:spPr bwMode="auto">
            <a:xfrm>
              <a:off x="2383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2" name="Line 248" hidden="1"/>
            <p:cNvSpPr>
              <a:spLocks noChangeShapeType="1"/>
            </p:cNvSpPr>
            <p:nvPr userDrawn="1"/>
          </p:nvSpPr>
          <p:spPr bwMode="auto">
            <a:xfrm>
              <a:off x="2497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273" name="Group 249" hidden="1"/>
            <p:cNvGrpSpPr>
              <a:grpSpLocks/>
            </p:cNvGrpSpPr>
            <p:nvPr userDrawn="1"/>
          </p:nvGrpSpPr>
          <p:grpSpPr bwMode="auto">
            <a:xfrm>
              <a:off x="3485" y="390"/>
              <a:ext cx="112" cy="5354"/>
              <a:chOff x="3485" y="390"/>
              <a:chExt cx="112" cy="5354"/>
            </a:xfrm>
          </p:grpSpPr>
          <p:sp>
            <p:nvSpPr>
              <p:cNvPr id="1274" name="Line 250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75" name="Line 251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276" name="Line 252" hidden="1"/>
            <p:cNvSpPr>
              <a:spLocks noChangeShapeType="1"/>
            </p:cNvSpPr>
            <p:nvPr userDrawn="1"/>
          </p:nvSpPr>
          <p:spPr bwMode="auto">
            <a:xfrm>
              <a:off x="4094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277" name="Group 253" hidden="1"/>
            <p:cNvGrpSpPr>
              <a:grpSpLocks/>
            </p:cNvGrpSpPr>
            <p:nvPr userDrawn="1"/>
          </p:nvGrpSpPr>
          <p:grpSpPr bwMode="auto">
            <a:xfrm>
              <a:off x="4592" y="390"/>
              <a:ext cx="114" cy="5354"/>
              <a:chOff x="4592" y="390"/>
              <a:chExt cx="114" cy="5354"/>
            </a:xfrm>
          </p:grpSpPr>
          <p:sp>
            <p:nvSpPr>
              <p:cNvPr id="1278" name="Line 254" hidden="1"/>
              <p:cNvSpPr>
                <a:spLocks noChangeShapeType="1"/>
              </p:cNvSpPr>
              <p:nvPr userDrawn="1"/>
            </p:nvSpPr>
            <p:spPr bwMode="auto">
              <a:xfrm>
                <a:off x="4592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79" name="Line 255" hidden="1"/>
              <p:cNvSpPr>
                <a:spLocks noChangeShapeType="1"/>
              </p:cNvSpPr>
              <p:nvPr userDrawn="1"/>
            </p:nvSpPr>
            <p:spPr bwMode="auto">
              <a:xfrm>
                <a:off x="4706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280" name="Line 256" hidden="1"/>
            <p:cNvSpPr>
              <a:spLocks noChangeShapeType="1"/>
            </p:cNvSpPr>
            <p:nvPr userDrawn="1"/>
          </p:nvSpPr>
          <p:spPr bwMode="auto">
            <a:xfrm>
              <a:off x="5696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1" name="Line 257" hidden="1"/>
            <p:cNvSpPr>
              <a:spLocks noChangeShapeType="1"/>
            </p:cNvSpPr>
            <p:nvPr userDrawn="1"/>
          </p:nvSpPr>
          <p:spPr bwMode="auto">
            <a:xfrm>
              <a:off x="581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2" name="Line 258" hidden="1"/>
            <p:cNvSpPr>
              <a:spLocks noChangeShapeType="1"/>
            </p:cNvSpPr>
            <p:nvPr userDrawn="1"/>
          </p:nvSpPr>
          <p:spPr bwMode="auto">
            <a:xfrm>
              <a:off x="6800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3" name="Line 259" hidden="1"/>
            <p:cNvSpPr>
              <a:spLocks noChangeShapeType="1"/>
            </p:cNvSpPr>
            <p:nvPr userDrawn="1"/>
          </p:nvSpPr>
          <p:spPr bwMode="auto">
            <a:xfrm>
              <a:off x="6914" y="390"/>
              <a:ext cx="1" cy="5354"/>
            </a:xfrm>
            <a:prstGeom prst="line">
              <a:avLst/>
            </a:prstGeom>
            <a:noFill/>
            <a:ln w="12700">
              <a:solidFill>
                <a:srgbClr val="8BA2B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002897"/>
                </a:buClr>
                <a:buSzPct val="70000"/>
                <a:buFont typeface="Wingdings" pitchFamily="2" charset="2"/>
                <a:buChar char="§"/>
              </a:pPr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284" name="Group 260" hidden="1"/>
            <p:cNvGrpSpPr>
              <a:grpSpLocks/>
            </p:cNvGrpSpPr>
            <p:nvPr userDrawn="1"/>
          </p:nvGrpSpPr>
          <p:grpSpPr bwMode="auto">
            <a:xfrm>
              <a:off x="4038" y="390"/>
              <a:ext cx="112" cy="5354"/>
              <a:chOff x="3485" y="390"/>
              <a:chExt cx="112" cy="5354"/>
            </a:xfrm>
          </p:grpSpPr>
          <p:sp>
            <p:nvSpPr>
              <p:cNvPr id="1285" name="Line 261" hidden="1"/>
              <p:cNvSpPr>
                <a:spLocks noChangeShapeType="1"/>
              </p:cNvSpPr>
              <p:nvPr userDrawn="1"/>
            </p:nvSpPr>
            <p:spPr bwMode="auto">
              <a:xfrm>
                <a:off x="3485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86" name="Line 262" hidden="1"/>
              <p:cNvSpPr>
                <a:spLocks noChangeShapeType="1"/>
              </p:cNvSpPr>
              <p:nvPr userDrawn="1"/>
            </p:nvSpPr>
            <p:spPr bwMode="auto">
              <a:xfrm>
                <a:off x="3597" y="390"/>
                <a:ext cx="0" cy="5354"/>
              </a:xfrm>
              <a:prstGeom prst="line">
                <a:avLst/>
              </a:prstGeom>
              <a:noFill/>
              <a:ln w="12700">
                <a:solidFill>
                  <a:srgbClr val="8BA2B2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002897"/>
                  </a:buClr>
                  <a:buSzPct val="70000"/>
                  <a:buFont typeface="Wingdings" pitchFamily="2" charset="2"/>
                  <a:buChar char="§"/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10" name="shpContentSlideFooter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5900" y="6200775"/>
            <a:ext cx="2808288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198000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5000"/>
              </a:lnSpc>
              <a:spcBef>
                <a:spcPct val="0"/>
              </a:spcBef>
              <a:buClrTx/>
              <a:buSzTx/>
              <a:buFontTx/>
              <a:buNone/>
              <a:defRPr sz="600">
                <a:solidFill>
                  <a:srgbClr val="666666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endParaRPr lang="en-US"/>
          </a:p>
          <a:p>
            <a:pPr fontAlgn="base">
              <a:spcAft>
                <a:spcPct val="0"/>
              </a:spcAft>
            </a:pPr>
            <a:r>
              <a:rPr lang="en-US"/>
              <a:t>© ABB Group </a:t>
            </a:r>
          </a:p>
          <a:p>
            <a:pPr fontAlgn="base">
              <a:spcAft>
                <a:spcPct val="0"/>
              </a:spcAft>
            </a:pPr>
            <a:fld id="{359ECA57-0B17-454C-BB77-518DED2FD424}" type="datetime4">
              <a:rPr lang="en-US"/>
              <a:pPr fontAlgn="base">
                <a:spcAft>
                  <a:spcPct val="0"/>
                </a:spcAft>
              </a:pPr>
              <a:t>February 10, 2014</a:t>
            </a:fld>
            <a:r>
              <a:rPr lang="en-US"/>
              <a:t> | Slide </a:t>
            </a:r>
            <a:fld id="{5CD19A07-39C3-43AD-9C52-1AD7214F68EE}" type="slidenum">
              <a:rPr lang="en-US"/>
              <a:pPr fontAlgn="base">
                <a:spcAft>
                  <a:spcPct val="0"/>
                </a:spcAft>
              </a:pPr>
              <a:t>‹#›</a:t>
            </a:fld>
            <a:endParaRPr lang="en-US"/>
          </a:p>
        </p:txBody>
      </p:sp>
      <p:pic>
        <p:nvPicPr>
          <p:cNvPr id="1313" name="Picture 289" descr="ABB2logo RGB"/>
          <p:cNvPicPr>
            <a:picLocks noChangeAspect="1" noChangeArrowheads="1"/>
          </p:cNvPicPr>
          <p:nvPr/>
        </p:nvPicPr>
        <p:blipFill>
          <a:blip r:embed="rId17" cstate="print"/>
          <a:srcRect l="62511"/>
          <a:stretch>
            <a:fillRect/>
          </a:stretch>
        </p:blipFill>
        <p:spPr bwMode="auto">
          <a:xfrm>
            <a:off x="8243888" y="6392863"/>
            <a:ext cx="6731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935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805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182563" indent="-182563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  <a:ea typeface="+mn-ea"/>
          <a:cs typeface="+mn-cs"/>
        </a:defRPr>
      </a:lvl1pPr>
      <a:lvl2pPr marL="539750" indent="-177800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2pPr>
      <a:lvl3pPr marL="896938" indent="-177800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3pPr>
      <a:lvl4pPr marL="1254125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4pPr>
      <a:lvl5pPr marL="16113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5pPr>
      <a:lvl6pPr marL="20685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6pPr>
      <a:lvl7pPr marL="25257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7pPr>
      <a:lvl8pPr marL="29829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8pPr>
      <a:lvl9pPr marL="3440113" indent="-174625" algn="l" rtl="0" fontAlgn="base">
        <a:spcBef>
          <a:spcPct val="5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15900" y="6200776"/>
            <a:ext cx="1260474" cy="657224"/>
          </a:xfrm>
          <a:prstGeom prst="rect">
            <a:avLst/>
          </a:prstGeom>
        </p:spPr>
        <p:txBody>
          <a:bodyPr vert="horz" lIns="0" tIns="0" rIns="0" bIns="198000" rtlCol="0" anchor="b" anchorCtr="0"/>
          <a:lstStyle>
            <a:lvl1pPr marL="0" algn="l" defTabSz="914400" rtl="0" eaLnBrk="1" latinLnBrk="0" hangingPunct="1">
              <a:defRPr lang="de-DE" sz="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462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76374" y="1592264"/>
            <a:ext cx="6191251" cy="46085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027" name="Picture 3" descr="ABB2logo RGB"/>
          <p:cNvPicPr>
            <a:picLocks noChangeAspect="1" noChangeArrowheads="1"/>
          </p:cNvPicPr>
          <p:nvPr/>
        </p:nvPicPr>
        <p:blipFill>
          <a:blip r:embed="rId22"/>
          <a:srcRect l="62511"/>
          <a:stretch>
            <a:fillRect/>
          </a:stretch>
        </p:blipFill>
        <p:spPr bwMode="auto">
          <a:xfrm>
            <a:off x="8243888" y="6392863"/>
            <a:ext cx="6731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Datumsplatzhalter 6"/>
          <p:cNvSpPr>
            <a:spLocks noGrp="1"/>
          </p:cNvSpPr>
          <p:nvPr>
            <p:ph type="dt" sz="half" idx="2"/>
          </p:nvPr>
        </p:nvSpPr>
        <p:spPr>
          <a:xfrm>
            <a:off x="207944" y="6568154"/>
            <a:ext cx="592889" cy="10887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l" defTabSz="914400" rtl="0" eaLnBrk="1" latinLnBrk="0" hangingPunct="1">
              <a:defRPr lang="de-DE" sz="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18319" y="6569118"/>
            <a:ext cx="448519" cy="10887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l" defTabSz="914400" rtl="0" eaLnBrk="1" latinLnBrk="0" hangingPunct="1">
              <a:defRPr lang="de-DE" sz="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dirty="0"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268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  <p:sldLayoutId id="2147483802" r:id="rId18"/>
    <p:sldLayoutId id="2147483803" r:id="rId19"/>
    <p:sldLayoutId id="2147483804" r:id="rId20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2800" kern="1200" baseline="0" dirty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9388" indent="-179388" algn="l" defTabSz="914400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28650" indent="-171450" algn="l" defTabSz="914400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4738" indent="-160338" algn="l" defTabSz="914400" rtl="0" eaLnBrk="1" latinLnBrk="0" hangingPunct="1">
        <a:spcBef>
          <a:spcPts val="1100"/>
        </a:spcBef>
        <a:buClr>
          <a:schemeClr val="tx2"/>
        </a:buClr>
        <a:buSzPct val="7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24000" marR="0" indent="-152400" algn="l" defTabSz="914400" rtl="0" eaLnBrk="1" fontAlgn="auto" latinLnBrk="0" hangingPunct="1">
        <a:lnSpc>
          <a:spcPct val="100000"/>
        </a:lnSpc>
        <a:spcBef>
          <a:spcPts val="1100"/>
        </a:spcBef>
        <a:spcAft>
          <a:spcPts val="0"/>
        </a:spcAft>
        <a:buClr>
          <a:schemeClr val="tx2"/>
        </a:buClr>
        <a:buSzPct val="7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1100"/>
        </a:spcBef>
        <a:spcAft>
          <a:spcPts val="0"/>
        </a:spcAft>
        <a:buClr>
          <a:schemeClr val="accent1"/>
        </a:buClr>
        <a:buSzPct val="70000"/>
        <a:buFontTx/>
        <a:buNone/>
        <a:tabLst/>
        <a:defRPr sz="18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8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8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5.xml"/><Relationship Id="rId1" Type="http://schemas.openxmlformats.org/officeDocument/2006/relationships/tags" Target="../tags/tag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jpeg"/><Relationship Id="rId3" Type="http://schemas.openxmlformats.org/officeDocument/2006/relationships/slide" Target="slide4.xml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3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6" Type="http://schemas.openxmlformats.org/officeDocument/2006/relationships/slide" Target="slide4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image" Target="../media/image12.jpe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16.pn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106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5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14.jpe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9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5.xml"/><Relationship Id="rId1" Type="http://schemas.openxmlformats.org/officeDocument/2006/relationships/tags" Target="../tags/tag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9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2708B985-EBCF-4652-856F-0599BD9CFE25}" type="slidenum">
              <a:rPr lang="en-US"/>
              <a:pPr/>
              <a:t>1</a:t>
            </a:fld>
            <a:endParaRPr lang="en-US"/>
          </a:p>
        </p:txBody>
      </p:sp>
      <p:sp>
        <p:nvSpPr>
          <p:cNvPr id="2100226" name="Rectangle 2"/>
          <p:cNvSpPr>
            <a:spLocks noChangeArrowheads="1"/>
          </p:cNvSpPr>
          <p:nvPr/>
        </p:nvSpPr>
        <p:spPr bwMode="auto">
          <a:xfrm>
            <a:off x="215900" y="225425"/>
            <a:ext cx="8712200" cy="5972175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002897"/>
              </a:buClr>
              <a:buSzPct val="70000"/>
              <a:buFont typeface="Wingdings" pitchFamily="48" charset="2"/>
              <a:buChar char="§"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00227" name="Rectangle 3"/>
          <p:cNvSpPr>
            <a:spLocks noChangeArrowheads="1"/>
          </p:cNvSpPr>
          <p:nvPr/>
        </p:nvSpPr>
        <p:spPr bwMode="auto">
          <a:xfrm>
            <a:off x="215900" y="225425"/>
            <a:ext cx="8712200" cy="1786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44000" tIns="144000" rIns="144000" bIns="144000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5400" dirty="0" smtClean="0">
                <a:solidFill>
                  <a:srgbClr val="0096EA"/>
                </a:solidFill>
              </a:rPr>
              <a:t>ABB’s portfolio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5400" dirty="0" smtClean="0">
                <a:solidFill>
                  <a:srgbClr val="5BD8FF"/>
                </a:solidFill>
              </a:rPr>
              <a:t>A consolidated view</a:t>
            </a:r>
            <a:endParaRPr lang="en-US" sz="5400" dirty="0">
              <a:solidFill>
                <a:srgbClr val="5BD8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6756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ergy Efficiency </a:t>
            </a:r>
            <a:r>
              <a:rPr lang="de-DE" dirty="0" smtClean="0"/>
              <a:t>in </a:t>
            </a:r>
            <a:r>
              <a:rPr lang="en-US" dirty="0" smtClean="0"/>
              <a:t>Food and Beverage 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Month DD, Yea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| Slide </a:t>
            </a:r>
            <a:fld id="{CF363E95-653D-48D7-8EB0-A81FED805B5F}" type="slidenum">
              <a:rPr>
                <a:solidFill>
                  <a:srgbClr val="000000"/>
                </a:solidFill>
              </a:rPr>
              <a:pPr/>
              <a:t>10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© ABB Group</a:t>
            </a:r>
          </a:p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066800"/>
            <a:ext cx="8382000" cy="4755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2456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dirty="0"/>
              <a:t>Energy Efficiency in Cement </a:t>
            </a:r>
            <a:br>
              <a:rPr lang="de-DE" dirty="0"/>
            </a:br>
            <a:r>
              <a:rPr lang="de-DE" dirty="0">
                <a:solidFill>
                  <a:schemeClr val="accent1"/>
                </a:solidFill>
              </a:rPr>
              <a:t/>
            </a:r>
            <a:br>
              <a:rPr lang="de-DE" dirty="0">
                <a:solidFill>
                  <a:schemeClr val="accent1"/>
                </a:solidFill>
              </a:rPr>
            </a:br>
            <a:endParaRPr lang="de-DE" dirty="0">
              <a:solidFill>
                <a:schemeClr val="accent1"/>
              </a:solidFill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-48736" y="1127462"/>
            <a:ext cx="8855785" cy="5437138"/>
            <a:chOff x="-364457" y="982468"/>
            <a:chExt cx="10505479" cy="4614383"/>
          </a:xfrm>
        </p:grpSpPr>
        <p:grpSp>
          <p:nvGrpSpPr>
            <p:cNvPr id="2" name="Group 1"/>
            <p:cNvGrpSpPr>
              <a:grpSpLocks noChangeAspect="1"/>
            </p:cNvGrpSpPr>
            <p:nvPr/>
          </p:nvGrpSpPr>
          <p:grpSpPr>
            <a:xfrm>
              <a:off x="0" y="2581153"/>
              <a:ext cx="8947128" cy="1792145"/>
              <a:chOff x="-8317433" y="908720"/>
              <a:chExt cx="31480127" cy="6305550"/>
            </a:xfrm>
          </p:grpSpPr>
          <p:pic>
            <p:nvPicPr>
              <p:cNvPr id="1026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17432" y="908720"/>
                <a:ext cx="31480125" cy="21050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27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17433" y="3013745"/>
                <a:ext cx="31480126" cy="21050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28" name="Picture 4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17432" y="5118770"/>
                <a:ext cx="31480126" cy="20955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cxnSp>
          <p:nvCxnSpPr>
            <p:cNvPr id="4" name="Straight Connector 3"/>
            <p:cNvCxnSpPr/>
            <p:nvPr/>
          </p:nvCxnSpPr>
          <p:spPr>
            <a:xfrm>
              <a:off x="539553" y="4797152"/>
              <a:ext cx="915386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/>
            <p:cNvCxnSpPr/>
            <p:nvPr/>
          </p:nvCxnSpPr>
          <p:spPr>
            <a:xfrm flipV="1">
              <a:off x="539553" y="3913542"/>
              <a:ext cx="0" cy="883609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 flipV="1">
              <a:off x="1187625" y="4077071"/>
              <a:ext cx="0" cy="72008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 flipV="1">
              <a:off x="3563888" y="4077071"/>
              <a:ext cx="0" cy="72008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 flipV="1">
              <a:off x="6804247" y="4077071"/>
              <a:ext cx="0" cy="72008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flipV="1">
              <a:off x="7668343" y="3913542"/>
              <a:ext cx="0" cy="883609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/>
            <p:cNvSpPr/>
            <p:nvPr/>
          </p:nvSpPr>
          <p:spPr>
            <a:xfrm>
              <a:off x="89757" y="4839818"/>
              <a:ext cx="2195735" cy="6660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Material transport</a:t>
              </a:r>
            </a:p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(6-15%)</a:t>
              </a:r>
            </a:p>
            <a:p>
              <a:pPr algn="ctr"/>
              <a:r>
                <a:rPr lang="en-US" sz="1050" dirty="0">
                  <a:solidFill>
                    <a:srgbClr val="000000"/>
                  </a:solidFill>
                </a:rPr>
                <a:t>Variable speed drives &amp; High Efficiency Motors</a:t>
              </a:r>
              <a:endParaRPr lang="de-DE" sz="105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268324" y="4793651"/>
              <a:ext cx="2502023" cy="8032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Fans </a:t>
              </a:r>
            </a:p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(10-15%)</a:t>
              </a:r>
            </a:p>
            <a:p>
              <a:pPr algn="ctr"/>
              <a:r>
                <a:rPr lang="en-US" sz="1050" dirty="0">
                  <a:solidFill>
                    <a:srgbClr val="000000"/>
                  </a:solidFill>
                </a:rPr>
                <a:t>Variable speed drives &amp; High Efficiency Motors</a:t>
              </a:r>
              <a:endParaRPr lang="de-DE" sz="1050" dirty="0">
                <a:solidFill>
                  <a:srgbClr val="000000"/>
                </a:solidFill>
              </a:endParaRPr>
            </a:p>
            <a:p>
              <a:pPr algn="ctr"/>
              <a:endParaRPr lang="en-US" sz="105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457194" y="4793650"/>
              <a:ext cx="1727612" cy="5485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Clinker cooler</a:t>
              </a:r>
            </a:p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(8-15%)</a:t>
              </a:r>
            </a:p>
            <a:p>
              <a:pPr algn="ctr"/>
              <a:r>
                <a:rPr lang="en-US" sz="1050" dirty="0">
                  <a:solidFill>
                    <a:srgbClr val="000000"/>
                  </a:solidFill>
                </a:rPr>
                <a:t>Multidrives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744169" y="4793650"/>
              <a:ext cx="2538099" cy="8032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Mills</a:t>
              </a:r>
            </a:p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(1-3%)</a:t>
              </a:r>
            </a:p>
            <a:p>
              <a:pPr algn="ctr"/>
              <a:r>
                <a:rPr lang="en-US" sz="1050" dirty="0">
                  <a:solidFill>
                    <a:srgbClr val="000000"/>
                  </a:solidFill>
                </a:rPr>
                <a:t>Variable Speed Drives,</a:t>
              </a:r>
            </a:p>
            <a:p>
              <a:pPr algn="ctr"/>
              <a:r>
                <a:rPr lang="en-US" sz="1050" dirty="0">
                  <a:solidFill>
                    <a:srgbClr val="000000"/>
                  </a:solidFill>
                </a:rPr>
                <a:t>GMDs &amp; High Efficiency Motors</a:t>
              </a:r>
              <a:endParaRPr lang="de-DE" sz="1050" dirty="0">
                <a:solidFill>
                  <a:srgbClr val="000000"/>
                </a:solidFill>
              </a:endParaRPr>
            </a:p>
            <a:p>
              <a:pPr algn="ctr"/>
              <a:endParaRPr lang="en-US" sz="1050" dirty="0">
                <a:solidFill>
                  <a:srgbClr val="000000"/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1691681" y="3207738"/>
              <a:ext cx="792088" cy="700567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180975" algn="ctr">
                <a:buClr>
                  <a:srgbClr val="005ADE"/>
                </a:buClr>
                <a:buFont typeface="Wingdings" pitchFamily="2" charset="2"/>
                <a:buChar char="§"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1691681" y="2492895"/>
              <a:ext cx="216024" cy="714843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Oval 42"/>
            <p:cNvSpPr/>
            <p:nvPr/>
          </p:nvSpPr>
          <p:spPr>
            <a:xfrm>
              <a:off x="2915816" y="2880296"/>
              <a:ext cx="792088" cy="783304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180975" algn="ctr">
                <a:buClr>
                  <a:srgbClr val="005ADE"/>
                </a:buClr>
                <a:buFont typeface="Wingdings" pitchFamily="2" charset="2"/>
                <a:buChar char="§"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30" name="Straight Arrow Connector 29"/>
            <p:cNvCxnSpPr>
              <a:endCxn id="43" idx="1"/>
            </p:cNvCxnSpPr>
            <p:nvPr/>
          </p:nvCxnSpPr>
          <p:spPr>
            <a:xfrm>
              <a:off x="1691681" y="2492895"/>
              <a:ext cx="1340135" cy="502113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tangle 43"/>
            <p:cNvSpPr/>
            <p:nvPr/>
          </p:nvSpPr>
          <p:spPr>
            <a:xfrm>
              <a:off x="-364457" y="1846563"/>
              <a:ext cx="2452181" cy="8032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Blending optimization </a:t>
              </a:r>
            </a:p>
            <a:p>
              <a:r>
                <a:rPr lang="en-US" sz="1200" b="1" dirty="0">
                  <a:solidFill>
                    <a:srgbClr val="000000"/>
                  </a:solidFill>
                </a:rPr>
                <a:t>(2-3%)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Optimize the raw mix for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easy burning and right clinker 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quality</a:t>
              </a:r>
            </a:p>
          </p:txBody>
        </p:sp>
        <p:sp>
          <p:nvSpPr>
            <p:cNvPr id="48" name="Oval 47"/>
            <p:cNvSpPr/>
            <p:nvPr/>
          </p:nvSpPr>
          <p:spPr>
            <a:xfrm>
              <a:off x="4770347" y="3853826"/>
              <a:ext cx="676992" cy="443366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180975" algn="ctr">
                <a:buClr>
                  <a:srgbClr val="005ADE"/>
                </a:buClr>
                <a:buFont typeface="Wingdings" pitchFamily="2" charset="2"/>
                <a:buChar char="§"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9" name="Oval 48"/>
            <p:cNvSpPr/>
            <p:nvPr/>
          </p:nvSpPr>
          <p:spPr>
            <a:xfrm rot="1298911">
              <a:off x="4660669" y="3462560"/>
              <a:ext cx="1169803" cy="366873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180975" algn="ctr">
                <a:buClr>
                  <a:srgbClr val="005ADE"/>
                </a:buClr>
                <a:buFont typeface="Wingdings" pitchFamily="2" charset="2"/>
                <a:buChar char="§"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5320999" y="2995008"/>
              <a:ext cx="608200" cy="476734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180975" algn="ctr">
                <a:buClr>
                  <a:srgbClr val="005ADE"/>
                </a:buClr>
                <a:buFont typeface="Wingdings" pitchFamily="2" charset="2"/>
                <a:buChar char="§"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46" name="Straight Arrow Connector 45"/>
            <p:cNvCxnSpPr>
              <a:endCxn id="48" idx="1"/>
            </p:cNvCxnSpPr>
            <p:nvPr/>
          </p:nvCxnSpPr>
          <p:spPr>
            <a:xfrm>
              <a:off x="2796155" y="2060846"/>
              <a:ext cx="2073336" cy="1857908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/>
            <p:cNvSpPr/>
            <p:nvPr/>
          </p:nvSpPr>
          <p:spPr>
            <a:xfrm>
              <a:off x="1894036" y="1238056"/>
              <a:ext cx="1568085" cy="8227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Heat Recovery </a:t>
              </a:r>
            </a:p>
            <a:p>
              <a:r>
                <a:rPr lang="en-US" sz="1200" b="1" dirty="0">
                  <a:solidFill>
                    <a:srgbClr val="000000"/>
                  </a:solidFill>
                </a:rPr>
                <a:t>(18-20%)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Produce electricity from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waste heat</a:t>
              </a:r>
            </a:p>
          </p:txBody>
        </p:sp>
        <p:cxnSp>
          <p:nvCxnSpPr>
            <p:cNvPr id="52" name="Straight Arrow Connector 51"/>
            <p:cNvCxnSpPr>
              <a:stCxn id="53" idx="2"/>
            </p:cNvCxnSpPr>
            <p:nvPr/>
          </p:nvCxnSpPr>
          <p:spPr>
            <a:xfrm>
              <a:off x="4486426" y="2097110"/>
              <a:ext cx="622418" cy="1374631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 52"/>
            <p:cNvSpPr/>
            <p:nvPr/>
          </p:nvSpPr>
          <p:spPr>
            <a:xfrm>
              <a:off x="3651851" y="1000056"/>
              <a:ext cx="1669150" cy="10970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Burning process optimization </a:t>
              </a:r>
            </a:p>
            <a:p>
              <a:r>
                <a:rPr lang="en-US" sz="1200" b="1" dirty="0">
                  <a:solidFill>
                    <a:srgbClr val="000000"/>
                  </a:solidFill>
                </a:rPr>
                <a:t>(3-10%)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Optimize the use of fossil energy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within the desired quality parameters</a:t>
              </a:r>
            </a:p>
          </p:txBody>
        </p:sp>
        <p:cxnSp>
          <p:nvCxnSpPr>
            <p:cNvPr id="55" name="Straight Arrow Connector 54"/>
            <p:cNvCxnSpPr>
              <a:endCxn id="50" idx="0"/>
            </p:cNvCxnSpPr>
            <p:nvPr/>
          </p:nvCxnSpPr>
          <p:spPr>
            <a:xfrm flipH="1">
              <a:off x="5625100" y="2717579"/>
              <a:ext cx="203893" cy="277428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Rectangle 55"/>
            <p:cNvSpPr/>
            <p:nvPr/>
          </p:nvSpPr>
          <p:spPr>
            <a:xfrm>
              <a:off x="5169360" y="1628936"/>
              <a:ext cx="1727050" cy="10970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Alternative fuel management</a:t>
              </a:r>
            </a:p>
            <a:p>
              <a:r>
                <a:rPr lang="en-US" sz="1200" b="1" dirty="0">
                  <a:solidFill>
                    <a:srgbClr val="000000"/>
                  </a:solidFill>
                </a:rPr>
                <a:t>(3-10%)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Optimize the use of alternative fuels within environmental constraints</a:t>
              </a:r>
            </a:p>
          </p:txBody>
        </p:sp>
        <p:sp>
          <p:nvSpPr>
            <p:cNvPr id="60" name="Oval 59"/>
            <p:cNvSpPr/>
            <p:nvPr/>
          </p:nvSpPr>
          <p:spPr>
            <a:xfrm>
              <a:off x="6818704" y="3121458"/>
              <a:ext cx="792088" cy="700567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180975" algn="ctr">
                <a:buClr>
                  <a:srgbClr val="005ADE"/>
                </a:buClr>
                <a:buFont typeface="Wingdings" pitchFamily="2" charset="2"/>
                <a:buChar char="§"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62" name="Straight Arrow Connector 61"/>
            <p:cNvCxnSpPr/>
            <p:nvPr/>
          </p:nvCxnSpPr>
          <p:spPr>
            <a:xfrm flipH="1">
              <a:off x="7171011" y="1628799"/>
              <a:ext cx="152050" cy="1511725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ctangle 58"/>
            <p:cNvSpPr/>
            <p:nvPr/>
          </p:nvSpPr>
          <p:spPr>
            <a:xfrm>
              <a:off x="6721594" y="982468"/>
              <a:ext cx="2154314" cy="8227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Grinding Optimization </a:t>
              </a:r>
            </a:p>
            <a:p>
              <a:r>
                <a:rPr lang="en-US" sz="1200" b="1" dirty="0">
                  <a:solidFill>
                    <a:srgbClr val="000000"/>
                  </a:solidFill>
                </a:rPr>
                <a:t>(3-10%)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Optimize the use of electrical energy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within the target quality</a:t>
              </a:r>
            </a:p>
          </p:txBody>
        </p:sp>
        <p:cxnSp>
          <p:nvCxnSpPr>
            <p:cNvPr id="66" name="Straight Arrow Connector 65"/>
            <p:cNvCxnSpPr/>
            <p:nvPr/>
          </p:nvCxnSpPr>
          <p:spPr>
            <a:xfrm flipH="1">
              <a:off x="7339266" y="2717579"/>
              <a:ext cx="304101" cy="413855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62"/>
            <p:cNvSpPr/>
            <p:nvPr/>
          </p:nvSpPr>
          <p:spPr>
            <a:xfrm>
              <a:off x="7491314" y="1912955"/>
              <a:ext cx="2649708" cy="8032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Blending optimization </a:t>
              </a:r>
            </a:p>
            <a:p>
              <a:r>
                <a:rPr lang="en-US" sz="1200" b="1" dirty="0">
                  <a:solidFill>
                    <a:srgbClr val="000000"/>
                  </a:solidFill>
                </a:rPr>
                <a:t>(2-3%)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Minimize the use of clinker (1-3%),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Optimize the use of electrical</a:t>
              </a:r>
            </a:p>
            <a:p>
              <a:r>
                <a:rPr lang="en-US" sz="1050" dirty="0">
                  <a:solidFill>
                    <a:srgbClr val="000000"/>
                  </a:solidFill>
                </a:rPr>
                <a:t>energy (3-10%)</a:t>
              </a:r>
            </a:p>
          </p:txBody>
        </p:sp>
      </p:grpSp>
      <p:sp>
        <p:nvSpPr>
          <p:cNvPr id="39" name="Rectangle 38"/>
          <p:cNvSpPr/>
          <p:nvPr/>
        </p:nvSpPr>
        <p:spPr>
          <a:xfrm>
            <a:off x="7175650" y="5620249"/>
            <a:ext cx="207686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</a:rPr>
              <a:t>Captive Power Plant</a:t>
            </a:r>
          </a:p>
          <a:p>
            <a:pPr algn="ctr"/>
            <a:r>
              <a:rPr lang="en-US" sz="1200" b="1" dirty="0">
                <a:solidFill>
                  <a:srgbClr val="000000"/>
                </a:solidFill>
              </a:rPr>
              <a:t>(8-12%)</a:t>
            </a:r>
          </a:p>
          <a:p>
            <a:pPr algn="ctr"/>
            <a:r>
              <a:rPr lang="en-US" sz="1050" dirty="0">
                <a:solidFill>
                  <a:srgbClr val="000000"/>
                </a:solidFill>
              </a:rPr>
              <a:t>Boiler optimization &amp; Auxiliary power consumption reduction</a:t>
            </a:r>
          </a:p>
        </p:txBody>
      </p:sp>
      <p:cxnSp>
        <p:nvCxnSpPr>
          <p:cNvPr id="41" name="Straight Arrow Connector 40"/>
          <p:cNvCxnSpPr/>
          <p:nvPr/>
        </p:nvCxnSpPr>
        <p:spPr>
          <a:xfrm flipV="1">
            <a:off x="8429729" y="4648695"/>
            <a:ext cx="0" cy="95943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4" descr="ProcessIndustry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635" y="3422739"/>
            <a:ext cx="1235861" cy="1124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688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0" y="1"/>
            <a:ext cx="9144000" cy="982986"/>
          </a:xfrm>
        </p:spPr>
        <p:txBody>
          <a:bodyPr/>
          <a:lstStyle/>
          <a:p>
            <a:r>
              <a:rPr lang="en-US" kern="1200" dirty="0">
                <a:latin typeface="Arial" pitchFamily="34" charset="0"/>
                <a:cs typeface="Arial" pitchFamily="34" charset="0"/>
              </a:rPr>
              <a:t>Power System FingerPrint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80113" y="3575310"/>
            <a:ext cx="8960643" cy="2590162"/>
            <a:chOff x="108969" y="2354295"/>
            <a:chExt cx="8960643" cy="2590162"/>
          </a:xfrm>
        </p:grpSpPr>
        <p:pic>
          <p:nvPicPr>
            <p:cNvPr id="5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08969" y="2354295"/>
              <a:ext cx="8824912" cy="259016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116" name="Oval 22"/>
            <p:cNvSpPr>
              <a:spLocks noChangeArrowheads="1"/>
            </p:cNvSpPr>
            <p:nvPr/>
          </p:nvSpPr>
          <p:spPr bwMode="auto">
            <a:xfrm>
              <a:off x="284387" y="2633663"/>
              <a:ext cx="8785225" cy="2310794"/>
            </a:xfrm>
            <a:prstGeom prst="ellips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06" y="3880673"/>
              <a:ext cx="766339" cy="571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" name="TextBox 4"/>
          <p:cNvSpPr txBox="1"/>
          <p:nvPr/>
        </p:nvSpPr>
        <p:spPr>
          <a:xfrm>
            <a:off x="231042" y="1781305"/>
            <a:ext cx="11875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Power Transformers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824808" y="2181415"/>
            <a:ext cx="837737" cy="2920273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1748305" y="1858249"/>
            <a:ext cx="11875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HT Breakers</a:t>
            </a:r>
          </a:p>
        </p:txBody>
      </p:sp>
      <p:cxnSp>
        <p:nvCxnSpPr>
          <p:cNvPr id="11" name="Straight Arrow Connector 10"/>
          <p:cNvCxnSpPr>
            <a:stCxn id="28" idx="2"/>
          </p:cNvCxnSpPr>
          <p:nvPr/>
        </p:nvCxnSpPr>
        <p:spPr>
          <a:xfrm flipH="1">
            <a:off x="1947553" y="2104470"/>
            <a:ext cx="394519" cy="2997218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28" idx="2"/>
          </p:cNvCxnSpPr>
          <p:nvPr/>
        </p:nvCxnSpPr>
        <p:spPr>
          <a:xfrm>
            <a:off x="2342072" y="2104470"/>
            <a:ext cx="935518" cy="1750208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28" idx="2"/>
          </p:cNvCxnSpPr>
          <p:nvPr/>
        </p:nvCxnSpPr>
        <p:spPr>
          <a:xfrm>
            <a:off x="2342072" y="2104470"/>
            <a:ext cx="3025575" cy="2289406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8" idx="2"/>
          </p:cNvCxnSpPr>
          <p:nvPr/>
        </p:nvCxnSpPr>
        <p:spPr>
          <a:xfrm>
            <a:off x="2342072" y="2104470"/>
            <a:ext cx="4616868" cy="2289406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3277590" y="1858249"/>
            <a:ext cx="11875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MV Breakers</a:t>
            </a:r>
          </a:p>
        </p:txBody>
      </p:sp>
      <p:cxnSp>
        <p:nvCxnSpPr>
          <p:cNvPr id="19" name="Straight Arrow Connector 18"/>
          <p:cNvCxnSpPr>
            <a:stCxn id="43" idx="2"/>
          </p:cNvCxnSpPr>
          <p:nvPr/>
        </p:nvCxnSpPr>
        <p:spPr>
          <a:xfrm flipH="1">
            <a:off x="3535149" y="2104470"/>
            <a:ext cx="336208" cy="1537081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43" idx="2"/>
          </p:cNvCxnSpPr>
          <p:nvPr/>
        </p:nvCxnSpPr>
        <p:spPr>
          <a:xfrm>
            <a:off x="3871357" y="2104470"/>
            <a:ext cx="3048260" cy="2289406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43" idx="2"/>
          </p:cNvCxnSpPr>
          <p:nvPr/>
        </p:nvCxnSpPr>
        <p:spPr>
          <a:xfrm>
            <a:off x="3871357" y="2104470"/>
            <a:ext cx="1658847" cy="2170653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1128156" y="2589361"/>
            <a:ext cx="1010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DG &amp; </a:t>
            </a:r>
            <a:r>
              <a:rPr lang="en-US" sz="1000" dirty="0" err="1">
                <a:solidFill>
                  <a:srgbClr val="000000"/>
                </a:solidFill>
              </a:rPr>
              <a:t>Gennerators</a:t>
            </a:r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26" name="Straight Arrow Connector 25"/>
          <p:cNvCxnSpPr>
            <a:stCxn id="51" idx="2"/>
          </p:cNvCxnSpPr>
          <p:nvPr/>
        </p:nvCxnSpPr>
        <p:spPr>
          <a:xfrm>
            <a:off x="1633252" y="2989471"/>
            <a:ext cx="115053" cy="2020604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6251964" y="2503571"/>
            <a:ext cx="1010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UPS and Battery banks</a:t>
            </a:r>
          </a:p>
        </p:txBody>
      </p:sp>
      <p:cxnSp>
        <p:nvCxnSpPr>
          <p:cNvPr id="36" name="Straight Arrow Connector 35"/>
          <p:cNvCxnSpPr/>
          <p:nvPr/>
        </p:nvCxnSpPr>
        <p:spPr>
          <a:xfrm flipH="1">
            <a:off x="4833257" y="2877993"/>
            <a:ext cx="1923803" cy="976685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5070764" y="1781304"/>
            <a:ext cx="1010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Aux. Power systems</a:t>
            </a:r>
          </a:p>
        </p:txBody>
      </p:sp>
      <p:cxnSp>
        <p:nvCxnSpPr>
          <p:cNvPr id="38" name="Straight Arrow Connector 37"/>
          <p:cNvCxnSpPr>
            <a:stCxn id="56" idx="2"/>
          </p:cNvCxnSpPr>
          <p:nvPr/>
        </p:nvCxnSpPr>
        <p:spPr>
          <a:xfrm flipH="1">
            <a:off x="3798649" y="2181414"/>
            <a:ext cx="1777211" cy="1673264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56" idx="2"/>
          </p:cNvCxnSpPr>
          <p:nvPr/>
        </p:nvCxnSpPr>
        <p:spPr>
          <a:xfrm flipH="1">
            <a:off x="1471086" y="2181414"/>
            <a:ext cx="4104774" cy="2319340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56" idx="2"/>
          </p:cNvCxnSpPr>
          <p:nvPr/>
        </p:nvCxnSpPr>
        <p:spPr>
          <a:xfrm>
            <a:off x="5575860" y="2181414"/>
            <a:ext cx="2381396" cy="2828661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 flipH="1">
            <a:off x="5070764" y="2291944"/>
            <a:ext cx="162166" cy="2208810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stCxn id="43" idx="2"/>
          </p:cNvCxnSpPr>
          <p:nvPr/>
        </p:nvCxnSpPr>
        <p:spPr>
          <a:xfrm>
            <a:off x="3871357" y="2104470"/>
            <a:ext cx="1445091" cy="2906923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>
          <a:xfrm flipH="1">
            <a:off x="3523473" y="2181415"/>
            <a:ext cx="3928687" cy="1673263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 flipH="1">
            <a:off x="1243676" y="2181415"/>
            <a:ext cx="6208484" cy="2319339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7452160" y="2181415"/>
            <a:ext cx="634936" cy="2688976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 flipH="1">
            <a:off x="7262156" y="2181415"/>
            <a:ext cx="190004" cy="2544970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 flipH="1">
            <a:off x="6757060" y="2181415"/>
            <a:ext cx="695100" cy="2212461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546265" y="984961"/>
            <a:ext cx="294301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</a:rPr>
              <a:t>Focus Area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Power quality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Harmonic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Reactive power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Load distribution and balancing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Protection system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Sizing and suitability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Generation/Consumption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Operation philosophy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3489280" y="982986"/>
            <a:ext cx="286401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</a:rPr>
              <a:t>Potential Improvements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Power factor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Reduced Harmonic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Extended asset life 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ncreased availability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ntegrated Electrical &amp; Process control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ntegrated load management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Predictive maintenance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Condition based monitoring</a:t>
            </a:r>
          </a:p>
        </p:txBody>
      </p:sp>
    </p:spTree>
    <p:extLst>
      <p:ext uri="{BB962C8B-B14F-4D97-AF65-F5344CB8AC3E}">
        <p14:creationId xmlns:p14="http://schemas.microsoft.com/office/powerpoint/2010/main" val="245057236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8" grpId="0"/>
      <p:bldP spid="43" grpId="0"/>
      <p:bldP spid="51" grpId="0"/>
      <p:bldP spid="53" grpId="0"/>
      <p:bldP spid="56" grpId="0"/>
      <p:bldP spid="81" grpId="0"/>
      <p:bldP spid="8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0" y="0"/>
            <a:ext cx="9144000" cy="1127461"/>
          </a:xfrm>
        </p:spPr>
        <p:txBody>
          <a:bodyPr/>
          <a:lstStyle/>
          <a:p>
            <a:r>
              <a:rPr lang="en-US" kern="1200" dirty="0">
                <a:latin typeface="Arial" pitchFamily="34" charset="0"/>
                <a:cs typeface="Arial" pitchFamily="34" charset="0"/>
              </a:rPr>
              <a:t>Control System FingerPrint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80113" y="3575310"/>
            <a:ext cx="8960643" cy="2590162"/>
            <a:chOff x="108969" y="2354295"/>
            <a:chExt cx="8960643" cy="2590162"/>
          </a:xfrm>
        </p:grpSpPr>
        <p:pic>
          <p:nvPicPr>
            <p:cNvPr id="5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08969" y="2354295"/>
              <a:ext cx="8824912" cy="259016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116" name="Oval 22"/>
            <p:cNvSpPr>
              <a:spLocks noChangeArrowheads="1"/>
            </p:cNvSpPr>
            <p:nvPr/>
          </p:nvSpPr>
          <p:spPr bwMode="auto">
            <a:xfrm>
              <a:off x="284387" y="2633663"/>
              <a:ext cx="8785225" cy="2310794"/>
            </a:xfrm>
            <a:prstGeom prst="ellips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4306" y="3880673"/>
              <a:ext cx="766339" cy="571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" name="TextBox 4"/>
          <p:cNvSpPr txBox="1"/>
          <p:nvPr/>
        </p:nvSpPr>
        <p:spPr>
          <a:xfrm>
            <a:off x="231042" y="1781305"/>
            <a:ext cx="11875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Sensors &amp; transducer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748305" y="1858249"/>
            <a:ext cx="11875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Analyzers</a:t>
            </a:r>
          </a:p>
        </p:txBody>
      </p:sp>
      <p:cxnSp>
        <p:nvCxnSpPr>
          <p:cNvPr id="15" name="Straight Arrow Connector 14"/>
          <p:cNvCxnSpPr>
            <a:stCxn id="28" idx="2"/>
          </p:cNvCxnSpPr>
          <p:nvPr/>
        </p:nvCxnSpPr>
        <p:spPr>
          <a:xfrm>
            <a:off x="2342072" y="2104470"/>
            <a:ext cx="2491185" cy="2396284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3277590" y="1858249"/>
            <a:ext cx="11875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Plant control system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31596" y="1781304"/>
            <a:ext cx="1010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Valves &amp; dampers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947064" y="1781305"/>
            <a:ext cx="1010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AC/DC drives</a:t>
            </a:r>
          </a:p>
        </p:txBody>
      </p:sp>
      <p:cxnSp>
        <p:nvCxnSpPr>
          <p:cNvPr id="52" name="Straight Arrow Connector 51"/>
          <p:cNvCxnSpPr>
            <a:stCxn id="69" idx="2"/>
          </p:cNvCxnSpPr>
          <p:nvPr/>
        </p:nvCxnSpPr>
        <p:spPr>
          <a:xfrm flipH="1">
            <a:off x="4833257" y="2027526"/>
            <a:ext cx="2618903" cy="2544919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69" idx="2"/>
          </p:cNvCxnSpPr>
          <p:nvPr/>
        </p:nvCxnSpPr>
        <p:spPr>
          <a:xfrm flipH="1">
            <a:off x="3277590" y="2027526"/>
            <a:ext cx="4174570" cy="2150190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69" idx="2"/>
          </p:cNvCxnSpPr>
          <p:nvPr/>
        </p:nvCxnSpPr>
        <p:spPr>
          <a:xfrm flipH="1">
            <a:off x="5842660" y="2027526"/>
            <a:ext cx="1609500" cy="2366350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stCxn id="69" idx="2"/>
          </p:cNvCxnSpPr>
          <p:nvPr/>
        </p:nvCxnSpPr>
        <p:spPr>
          <a:xfrm flipH="1">
            <a:off x="7262156" y="2027526"/>
            <a:ext cx="190004" cy="2698859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>
            <a:stCxn id="69" idx="2"/>
          </p:cNvCxnSpPr>
          <p:nvPr/>
        </p:nvCxnSpPr>
        <p:spPr>
          <a:xfrm flipH="1">
            <a:off x="6757060" y="2027526"/>
            <a:ext cx="695100" cy="2366350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28" idx="2"/>
          </p:cNvCxnSpPr>
          <p:nvPr/>
        </p:nvCxnSpPr>
        <p:spPr>
          <a:xfrm flipH="1">
            <a:off x="1525450" y="2104470"/>
            <a:ext cx="816622" cy="2765921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5" idx="2"/>
          </p:cNvCxnSpPr>
          <p:nvPr/>
        </p:nvCxnSpPr>
        <p:spPr>
          <a:xfrm>
            <a:off x="824809" y="2181415"/>
            <a:ext cx="1716510" cy="1808694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28" idx="2"/>
          </p:cNvCxnSpPr>
          <p:nvPr/>
        </p:nvCxnSpPr>
        <p:spPr>
          <a:xfrm>
            <a:off x="2342072" y="2104470"/>
            <a:ext cx="1054271" cy="2170653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28" idx="2"/>
          </p:cNvCxnSpPr>
          <p:nvPr/>
        </p:nvCxnSpPr>
        <p:spPr>
          <a:xfrm>
            <a:off x="2342072" y="2104470"/>
            <a:ext cx="4165606" cy="3108798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28" idx="2"/>
          </p:cNvCxnSpPr>
          <p:nvPr/>
        </p:nvCxnSpPr>
        <p:spPr>
          <a:xfrm>
            <a:off x="2342072" y="2104470"/>
            <a:ext cx="5531268" cy="2997218"/>
          </a:xfrm>
          <a:prstGeom prst="straightConnector1">
            <a:avLst/>
          </a:prstGeom>
          <a:ln w="9525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43" idx="2"/>
          </p:cNvCxnSpPr>
          <p:nvPr/>
        </p:nvCxnSpPr>
        <p:spPr>
          <a:xfrm>
            <a:off x="3871357" y="2258359"/>
            <a:ext cx="142503" cy="1596319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56" idx="2"/>
          </p:cNvCxnSpPr>
          <p:nvPr/>
        </p:nvCxnSpPr>
        <p:spPr>
          <a:xfrm flipH="1">
            <a:off x="5925708" y="2181414"/>
            <a:ext cx="210984" cy="1673264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957256" y="1781305"/>
            <a:ext cx="1010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Quality / Lab </a:t>
            </a:r>
          </a:p>
          <a:p>
            <a:pPr algn="ctr"/>
            <a:r>
              <a:rPr lang="en-US" sz="1000" dirty="0">
                <a:solidFill>
                  <a:srgbClr val="000000"/>
                </a:solidFill>
              </a:rPr>
              <a:t>Systems</a:t>
            </a:r>
          </a:p>
        </p:txBody>
      </p:sp>
      <p:cxnSp>
        <p:nvCxnSpPr>
          <p:cNvPr id="36" name="Straight Arrow Connector 35"/>
          <p:cNvCxnSpPr>
            <a:stCxn id="35" idx="2"/>
          </p:cNvCxnSpPr>
          <p:nvPr/>
        </p:nvCxnSpPr>
        <p:spPr>
          <a:xfrm flipH="1">
            <a:off x="7957256" y="2181415"/>
            <a:ext cx="505096" cy="2093708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4328160" y="1849020"/>
            <a:ext cx="15145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Sub Control Systems</a:t>
            </a:r>
          </a:p>
          <a:p>
            <a:pPr algn="ctr"/>
            <a:r>
              <a:rPr lang="en-US" sz="1000" dirty="0">
                <a:solidFill>
                  <a:srgbClr val="000000"/>
                </a:solidFill>
              </a:rPr>
              <a:t>(Weighing, </a:t>
            </a:r>
            <a:r>
              <a:rPr lang="en-US" sz="1000" dirty="0" err="1">
                <a:solidFill>
                  <a:srgbClr val="000000"/>
                </a:solidFill>
              </a:rPr>
              <a:t>Vib</a:t>
            </a:r>
            <a:r>
              <a:rPr lang="en-US" sz="1000" dirty="0">
                <a:solidFill>
                  <a:srgbClr val="000000"/>
                </a:solidFill>
              </a:rPr>
              <a:t>. Mon.)</a:t>
            </a:r>
          </a:p>
        </p:txBody>
      </p:sp>
      <p:cxnSp>
        <p:nvCxnSpPr>
          <p:cNvPr id="39" name="Straight Arrow Connector 38"/>
          <p:cNvCxnSpPr>
            <a:stCxn id="38" idx="2"/>
          </p:cNvCxnSpPr>
          <p:nvPr/>
        </p:nvCxnSpPr>
        <p:spPr>
          <a:xfrm flipH="1">
            <a:off x="4896724" y="2249130"/>
            <a:ext cx="188686" cy="1605548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546265" y="984961"/>
            <a:ext cx="2943015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</a:rPr>
              <a:t>Focus Area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System statu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System administration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larms &amp; event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System security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nterfacing &amp; interlocking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nstruments status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489280" y="982986"/>
            <a:ext cx="3018398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</a:rPr>
              <a:t>Potential Improvements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sset management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larm management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Reporting &amp; analysi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Cyber security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Back up management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Software upgrad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Hardware upgrad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Corporate Information System </a:t>
            </a:r>
          </a:p>
        </p:txBody>
      </p:sp>
    </p:spTree>
    <p:extLst>
      <p:ext uri="{BB962C8B-B14F-4D97-AF65-F5344CB8AC3E}">
        <p14:creationId xmlns:p14="http://schemas.microsoft.com/office/powerpoint/2010/main" val="399717825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8" grpId="0"/>
      <p:bldP spid="43" grpId="0"/>
      <p:bldP spid="56" grpId="0"/>
      <p:bldP spid="69" grpId="0"/>
      <p:bldP spid="35" grpId="0"/>
      <p:bldP spid="38" grpId="0"/>
      <p:bldP spid="44" grpId="0"/>
      <p:bldP spid="5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7125"/>
          </a:xfrm>
        </p:spPr>
        <p:txBody>
          <a:bodyPr/>
          <a:lstStyle/>
          <a:p>
            <a:r>
              <a:rPr lang="en-US" kern="1200" dirty="0">
                <a:latin typeface="Arial" pitchFamily="34" charset="0"/>
                <a:cs typeface="Arial" pitchFamily="34" charset="0"/>
              </a:rPr>
              <a:t>Captive Power </a:t>
            </a:r>
            <a:r>
              <a:rPr lang="en-US" kern="1200" dirty="0" smtClean="0">
                <a:latin typeface="Arial" pitchFamily="34" charset="0"/>
                <a:cs typeface="Arial" pitchFamily="34" charset="0"/>
              </a:rPr>
              <a:t>Plant FingerPrint</a:t>
            </a:r>
            <a:endParaRPr lang="en-US" kern="12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4756" name="Picture 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"/>
          <a:stretch>
            <a:fillRect/>
          </a:stretch>
        </p:blipFill>
        <p:spPr bwMode="auto">
          <a:xfrm>
            <a:off x="225425" y="1196975"/>
            <a:ext cx="8594725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4765" name="Text Box 11"/>
          <p:cNvSpPr txBox="1">
            <a:spLocks noChangeArrowheads="1"/>
          </p:cNvSpPr>
          <p:nvPr/>
        </p:nvSpPr>
        <p:spPr bwMode="auto">
          <a:xfrm>
            <a:off x="5446713" y="1682750"/>
            <a:ext cx="12430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 b="1">
                <a:solidFill>
                  <a:srgbClr val="009900"/>
                </a:solidFill>
              </a:rPr>
              <a:t>Steam Turbine</a:t>
            </a:r>
          </a:p>
          <a:p>
            <a:r>
              <a:rPr lang="en-US" sz="1200" b="1">
                <a:solidFill>
                  <a:srgbClr val="009900"/>
                </a:solidFill>
              </a:rPr>
              <a:t>+ Generator</a:t>
            </a:r>
          </a:p>
        </p:txBody>
      </p:sp>
      <p:sp>
        <p:nvSpPr>
          <p:cNvPr id="74766" name="Text Box 12"/>
          <p:cNvSpPr txBox="1">
            <a:spLocks noChangeArrowheads="1"/>
          </p:cNvSpPr>
          <p:nvPr/>
        </p:nvSpPr>
        <p:spPr bwMode="auto">
          <a:xfrm>
            <a:off x="7283450" y="2773363"/>
            <a:ext cx="152041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 b="1" dirty="0" err="1" smtClean="0">
                <a:solidFill>
                  <a:srgbClr val="009900"/>
                </a:solidFill>
              </a:rPr>
              <a:t>eBOP</a:t>
            </a:r>
            <a:r>
              <a:rPr lang="en-US" sz="1200" b="1" dirty="0" smtClean="0">
                <a:solidFill>
                  <a:srgbClr val="009900"/>
                </a:solidFill>
              </a:rPr>
              <a:t> assessment</a:t>
            </a:r>
            <a:endParaRPr lang="en-US" sz="1200" b="1" dirty="0">
              <a:solidFill>
                <a:srgbClr val="009900"/>
              </a:solidFill>
            </a:endParaRPr>
          </a:p>
        </p:txBody>
      </p:sp>
      <p:sp>
        <p:nvSpPr>
          <p:cNvPr id="74767" name="Line 13"/>
          <p:cNvSpPr>
            <a:spLocks noChangeShapeType="1"/>
          </p:cNvSpPr>
          <p:nvPr/>
        </p:nvSpPr>
        <p:spPr bwMode="auto">
          <a:xfrm>
            <a:off x="1908175" y="2565400"/>
            <a:ext cx="1033463" cy="482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4770" name="Line 16"/>
          <p:cNvSpPr>
            <a:spLocks noChangeShapeType="1"/>
          </p:cNvSpPr>
          <p:nvPr/>
        </p:nvSpPr>
        <p:spPr bwMode="auto">
          <a:xfrm flipH="1">
            <a:off x="5446713" y="2139950"/>
            <a:ext cx="638175" cy="633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4771" name="Line 17"/>
          <p:cNvSpPr>
            <a:spLocks noChangeShapeType="1"/>
          </p:cNvSpPr>
          <p:nvPr/>
        </p:nvSpPr>
        <p:spPr bwMode="auto">
          <a:xfrm>
            <a:off x="7426325" y="3048000"/>
            <a:ext cx="215900" cy="3095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4772" name="Line 18"/>
          <p:cNvSpPr>
            <a:spLocks noChangeShapeType="1"/>
          </p:cNvSpPr>
          <p:nvPr/>
        </p:nvSpPr>
        <p:spPr bwMode="auto">
          <a:xfrm flipH="1">
            <a:off x="7283450" y="3048000"/>
            <a:ext cx="142875" cy="2016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4773" name="Text Box 19"/>
          <p:cNvSpPr txBox="1">
            <a:spLocks noChangeArrowheads="1"/>
          </p:cNvSpPr>
          <p:nvPr/>
        </p:nvSpPr>
        <p:spPr bwMode="auto">
          <a:xfrm>
            <a:off x="1837531" y="1203435"/>
            <a:ext cx="1174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 b="1" dirty="0">
                <a:solidFill>
                  <a:srgbClr val="009900"/>
                </a:solidFill>
              </a:rPr>
              <a:t>Boiler startup</a:t>
            </a:r>
          </a:p>
          <a:p>
            <a:r>
              <a:rPr lang="en-US" sz="1200" b="1" dirty="0">
                <a:solidFill>
                  <a:srgbClr val="009900"/>
                </a:solidFill>
              </a:rPr>
              <a:t>&amp; control</a:t>
            </a:r>
          </a:p>
        </p:txBody>
      </p:sp>
      <p:sp>
        <p:nvSpPr>
          <p:cNvPr id="74774" name="Line 20"/>
          <p:cNvSpPr>
            <a:spLocks noChangeShapeType="1"/>
          </p:cNvSpPr>
          <p:nvPr/>
        </p:nvSpPr>
        <p:spPr bwMode="auto">
          <a:xfrm>
            <a:off x="2351088" y="1682750"/>
            <a:ext cx="395287" cy="3667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4775" name="Text Box 21"/>
          <p:cNvSpPr txBox="1">
            <a:spLocks noChangeArrowheads="1"/>
          </p:cNvSpPr>
          <p:nvPr/>
        </p:nvSpPr>
        <p:spPr bwMode="auto">
          <a:xfrm>
            <a:off x="6286500" y="968375"/>
            <a:ext cx="17970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 b="1" dirty="0">
                <a:solidFill>
                  <a:srgbClr val="009900"/>
                </a:solidFill>
              </a:rPr>
              <a:t>Continuous Emission </a:t>
            </a:r>
          </a:p>
          <a:p>
            <a:r>
              <a:rPr lang="en-US" sz="1200" b="1" dirty="0">
                <a:solidFill>
                  <a:srgbClr val="009900"/>
                </a:solidFill>
              </a:rPr>
              <a:t>Monitoring (CEMS</a:t>
            </a:r>
            <a:r>
              <a:rPr lang="en-US" sz="1200" b="1" dirty="0">
                <a:solidFill>
                  <a:srgbClr val="00B050"/>
                </a:solidFill>
              </a:rPr>
              <a:t>) </a:t>
            </a:r>
          </a:p>
        </p:txBody>
      </p:sp>
      <p:sp>
        <p:nvSpPr>
          <p:cNvPr id="74776" name="Line 22"/>
          <p:cNvSpPr>
            <a:spLocks noChangeShapeType="1"/>
          </p:cNvSpPr>
          <p:nvPr/>
        </p:nvSpPr>
        <p:spPr bwMode="auto">
          <a:xfrm flipH="1">
            <a:off x="7056438" y="1425575"/>
            <a:ext cx="369887" cy="4857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4777" name="Text Box 23"/>
          <p:cNvSpPr txBox="1">
            <a:spLocks noChangeArrowheads="1"/>
          </p:cNvSpPr>
          <p:nvPr/>
        </p:nvSpPr>
        <p:spPr bwMode="auto">
          <a:xfrm>
            <a:off x="250825" y="1592263"/>
            <a:ext cx="129394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 b="1" dirty="0">
                <a:solidFill>
                  <a:srgbClr val="009900"/>
                </a:solidFill>
              </a:rPr>
              <a:t>Combustion</a:t>
            </a:r>
          </a:p>
          <a:p>
            <a:r>
              <a:rPr lang="en-US" sz="1200" b="1" dirty="0">
                <a:solidFill>
                  <a:srgbClr val="009900"/>
                </a:solidFill>
              </a:rPr>
              <a:t>Optimization</a:t>
            </a:r>
          </a:p>
          <a:p>
            <a:r>
              <a:rPr lang="en-US" sz="1200" b="1" dirty="0">
                <a:solidFill>
                  <a:srgbClr val="009900"/>
                </a:solidFill>
              </a:rPr>
              <a:t>Systems (COS)</a:t>
            </a:r>
          </a:p>
        </p:txBody>
      </p:sp>
      <p:sp>
        <p:nvSpPr>
          <p:cNvPr id="74780" name="Line 26"/>
          <p:cNvSpPr>
            <a:spLocks noChangeShapeType="1"/>
          </p:cNvSpPr>
          <p:nvPr/>
        </p:nvSpPr>
        <p:spPr bwMode="auto">
          <a:xfrm>
            <a:off x="1439863" y="1989138"/>
            <a:ext cx="1439862" cy="900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4781" name="Text Box 27"/>
          <p:cNvSpPr txBox="1">
            <a:spLocks noChangeArrowheads="1"/>
          </p:cNvSpPr>
          <p:nvPr/>
        </p:nvSpPr>
        <p:spPr bwMode="auto">
          <a:xfrm>
            <a:off x="3927475" y="1287463"/>
            <a:ext cx="14160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 b="1">
                <a:solidFill>
                  <a:srgbClr val="009900"/>
                </a:solidFill>
              </a:rPr>
              <a:t>Carbon in Ash </a:t>
            </a:r>
          </a:p>
          <a:p>
            <a:r>
              <a:rPr lang="en-US" sz="1200" b="1">
                <a:solidFill>
                  <a:srgbClr val="009900"/>
                </a:solidFill>
              </a:rPr>
              <a:t>Monitoring </a:t>
            </a:r>
            <a:r>
              <a:rPr lang="en-US" sz="1200">
                <a:solidFill>
                  <a:srgbClr val="009900"/>
                </a:solidFill>
              </a:rPr>
              <a:t>(TSA)</a:t>
            </a:r>
          </a:p>
        </p:txBody>
      </p:sp>
      <p:sp>
        <p:nvSpPr>
          <p:cNvPr id="74782" name="Line 28"/>
          <p:cNvSpPr>
            <a:spLocks noChangeShapeType="1"/>
          </p:cNvSpPr>
          <p:nvPr/>
        </p:nvSpPr>
        <p:spPr bwMode="auto">
          <a:xfrm flipH="1">
            <a:off x="3743325" y="1744663"/>
            <a:ext cx="647700" cy="5778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4787" name="Text Box 33"/>
          <p:cNvSpPr txBox="1">
            <a:spLocks noChangeArrowheads="1"/>
          </p:cNvSpPr>
          <p:nvPr/>
        </p:nvSpPr>
        <p:spPr bwMode="auto">
          <a:xfrm>
            <a:off x="142875" y="2384425"/>
            <a:ext cx="185737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 b="1" dirty="0">
                <a:solidFill>
                  <a:srgbClr val="009900"/>
                </a:solidFill>
              </a:rPr>
              <a:t>Burner Mgmt Systems</a:t>
            </a:r>
          </a:p>
        </p:txBody>
      </p:sp>
      <p:sp>
        <p:nvSpPr>
          <p:cNvPr id="74791" name="Text Box 38"/>
          <p:cNvSpPr txBox="1">
            <a:spLocks noChangeArrowheads="1"/>
          </p:cNvSpPr>
          <p:nvPr/>
        </p:nvSpPr>
        <p:spPr bwMode="auto">
          <a:xfrm>
            <a:off x="734091" y="1194742"/>
            <a:ext cx="109356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 b="1" dirty="0">
                <a:solidFill>
                  <a:srgbClr val="009900"/>
                </a:solidFill>
              </a:rPr>
              <a:t>Boiler </a:t>
            </a:r>
            <a:endParaRPr lang="en-US" sz="1200" b="1" dirty="0" smtClean="0">
              <a:solidFill>
                <a:srgbClr val="009900"/>
              </a:solidFill>
            </a:endParaRPr>
          </a:p>
          <a:p>
            <a:r>
              <a:rPr lang="en-US" sz="1200" b="1" dirty="0" smtClean="0">
                <a:solidFill>
                  <a:srgbClr val="009900"/>
                </a:solidFill>
              </a:rPr>
              <a:t>optimization</a:t>
            </a:r>
            <a:endParaRPr lang="en-US" sz="1200" b="1" dirty="0">
              <a:solidFill>
                <a:srgbClr val="009900"/>
              </a:solidFill>
            </a:endParaRPr>
          </a:p>
        </p:txBody>
      </p:sp>
      <p:sp>
        <p:nvSpPr>
          <p:cNvPr id="74792" name="Line 39"/>
          <p:cNvSpPr>
            <a:spLocks noChangeShapeType="1"/>
          </p:cNvSpPr>
          <p:nvPr/>
        </p:nvSpPr>
        <p:spPr bwMode="auto">
          <a:xfrm>
            <a:off x="1368425" y="1557338"/>
            <a:ext cx="1474788" cy="7556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28382" y="5050050"/>
            <a:ext cx="33985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en-US" sz="1200" b="1" dirty="0">
                <a:solidFill>
                  <a:srgbClr val="009900"/>
                </a:solidFill>
                <a:cs typeface="Arial" charset="0"/>
              </a:rPr>
              <a:t>Captive Power Generation : 8 – 12%</a:t>
            </a:r>
          </a:p>
          <a:p>
            <a:pPr eaLnBrk="0" hangingPunct="0"/>
            <a:r>
              <a:rPr lang="en-US" sz="1200" b="1" dirty="0">
                <a:solidFill>
                  <a:srgbClr val="009900"/>
                </a:solidFill>
                <a:cs typeface="Arial" charset="0"/>
              </a:rPr>
              <a:t>Boiler optimization : 3 – 4 %</a:t>
            </a:r>
          </a:p>
          <a:p>
            <a:pPr eaLnBrk="0" hangingPunct="0"/>
            <a:r>
              <a:rPr lang="en-US" sz="1200" b="1" dirty="0">
                <a:solidFill>
                  <a:srgbClr val="009900"/>
                </a:solidFill>
                <a:cs typeface="Arial" charset="0"/>
              </a:rPr>
              <a:t>Auxiliary power  consumption : 5 -8%</a:t>
            </a:r>
          </a:p>
        </p:txBody>
      </p:sp>
    </p:spTree>
    <p:extLst>
      <p:ext uri="{BB962C8B-B14F-4D97-AF65-F5344CB8AC3E}">
        <p14:creationId xmlns:p14="http://schemas.microsoft.com/office/powerpoint/2010/main" val="31480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215900" y="6200775"/>
            <a:ext cx="2808288" cy="657225"/>
          </a:xfrm>
          <a:prstGeom prst="rect">
            <a:avLst/>
          </a:prstGeom>
        </p:spPr>
        <p:txBody>
          <a:bodyPr/>
          <a:lstStyle/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2708B985-EBCF-4652-856F-0599BD9CFE25}" type="slidenum">
              <a:rPr lang="en-US"/>
              <a:pPr/>
              <a:t>15</a:t>
            </a:fld>
            <a:endParaRPr lang="en-US"/>
          </a:p>
        </p:txBody>
      </p:sp>
      <p:sp>
        <p:nvSpPr>
          <p:cNvPr id="2100226" name="Rectangle 2"/>
          <p:cNvSpPr>
            <a:spLocks noChangeArrowheads="1"/>
          </p:cNvSpPr>
          <p:nvPr/>
        </p:nvSpPr>
        <p:spPr bwMode="auto">
          <a:xfrm>
            <a:off x="215900" y="225425"/>
            <a:ext cx="8712200" cy="5972175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002897"/>
              </a:buClr>
              <a:buSzPct val="70000"/>
              <a:buFont typeface="Wingdings" pitchFamily="48" charset="2"/>
              <a:buChar char="§"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00227" name="Rectangle 3"/>
          <p:cNvSpPr>
            <a:spLocks noChangeArrowheads="1"/>
          </p:cNvSpPr>
          <p:nvPr/>
        </p:nvSpPr>
        <p:spPr bwMode="auto">
          <a:xfrm>
            <a:off x="215900" y="225425"/>
            <a:ext cx="8712200" cy="1786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44000" tIns="144000" rIns="144000" bIns="144000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5400" dirty="0" smtClean="0">
                <a:solidFill>
                  <a:srgbClr val="0096EA"/>
                </a:solidFill>
              </a:rPr>
              <a:t>One ABB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5400" dirty="0" smtClean="0">
                <a:solidFill>
                  <a:srgbClr val="5BD8FF"/>
                </a:solidFill>
              </a:rPr>
              <a:t>An integrated approach</a:t>
            </a:r>
            <a:endParaRPr lang="en-US" sz="5400" dirty="0">
              <a:solidFill>
                <a:srgbClr val="5BD8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3412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Isosceles Triangle 141"/>
          <p:cNvSpPr/>
          <p:nvPr/>
        </p:nvSpPr>
        <p:spPr>
          <a:xfrm rot="603984">
            <a:off x="4994275" y="3411538"/>
            <a:ext cx="411163" cy="1344612"/>
          </a:xfrm>
          <a:prstGeom prst="triangle">
            <a:avLst/>
          </a:prstGeom>
          <a:solidFill>
            <a:schemeClr val="accent2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1" name="Isosceles Triangle 140"/>
          <p:cNvSpPr/>
          <p:nvPr/>
        </p:nvSpPr>
        <p:spPr>
          <a:xfrm rot="1801341">
            <a:off x="6199188" y="3271838"/>
            <a:ext cx="239712" cy="1319212"/>
          </a:xfrm>
          <a:prstGeom prst="triangle">
            <a:avLst/>
          </a:prstGeom>
          <a:solidFill>
            <a:schemeClr val="accent2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5" name="Isosceles Triangle 144"/>
          <p:cNvSpPr/>
          <p:nvPr/>
        </p:nvSpPr>
        <p:spPr>
          <a:xfrm rot="18416925">
            <a:off x="1085851" y="3136900"/>
            <a:ext cx="296862" cy="1417637"/>
          </a:xfrm>
          <a:prstGeom prst="triangle">
            <a:avLst/>
          </a:prstGeom>
          <a:solidFill>
            <a:schemeClr val="accent2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294" name="Title 2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1162050"/>
          </a:xfrm>
        </p:spPr>
        <p:txBody>
          <a:bodyPr/>
          <a:lstStyle/>
          <a:p>
            <a:pPr eaLnBrk="1" hangingPunct="1"/>
            <a:r>
              <a:rPr lang="en-US" smtClean="0"/>
              <a:t>Extended BU services: holistic client approach</a:t>
            </a:r>
          </a:p>
        </p:txBody>
      </p:sp>
      <p:pic>
        <p:nvPicPr>
          <p:cNvPr id="12296" name="Picture 3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</a:blip>
          <a:srcRect/>
          <a:stretch>
            <a:fillRect/>
          </a:stretch>
        </p:blipFill>
        <p:spPr bwMode="auto">
          <a:xfrm>
            <a:off x="1373188" y="3476625"/>
            <a:ext cx="5575300" cy="265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213"/>
          <p:cNvGrpSpPr>
            <a:grpSpLocks/>
          </p:cNvGrpSpPr>
          <p:nvPr/>
        </p:nvGrpSpPr>
        <p:grpSpPr bwMode="auto">
          <a:xfrm>
            <a:off x="6875463" y="3357563"/>
            <a:ext cx="303212" cy="503237"/>
            <a:chOff x="6876256" y="3356992"/>
            <a:chExt cx="301910" cy="503238"/>
          </a:xfrm>
        </p:grpSpPr>
        <p:sp>
          <p:nvSpPr>
            <p:cNvPr id="2057239" name="Freeform 589"/>
            <p:cNvSpPr>
              <a:spLocks noChangeAspect="1"/>
            </p:cNvSpPr>
            <p:nvPr/>
          </p:nvSpPr>
          <p:spPr bwMode="gray">
            <a:xfrm>
              <a:off x="6937902" y="3599879"/>
              <a:ext cx="113809" cy="260351"/>
            </a:xfrm>
            <a:custGeom>
              <a:avLst/>
              <a:gdLst>
                <a:gd name="T0" fmla="*/ 2147483647 w 90"/>
                <a:gd name="T1" fmla="*/ 2147483647 h 245"/>
                <a:gd name="T2" fmla="*/ 2147483647 w 90"/>
                <a:gd name="T3" fmla="*/ 2147483647 h 245"/>
                <a:gd name="T4" fmla="*/ 2147483647 w 90"/>
                <a:gd name="T5" fmla="*/ 2147483647 h 245"/>
                <a:gd name="T6" fmla="*/ 2147483647 w 90"/>
                <a:gd name="T7" fmla="*/ 2147483647 h 245"/>
                <a:gd name="T8" fmla="*/ 2147483647 w 90"/>
                <a:gd name="T9" fmla="*/ 2147483647 h 245"/>
                <a:gd name="T10" fmla="*/ 2147483647 w 90"/>
                <a:gd name="T11" fmla="*/ 0 h 245"/>
                <a:gd name="T12" fmla="*/ 2147483647 w 90"/>
                <a:gd name="T13" fmla="*/ 2147483647 h 245"/>
                <a:gd name="T14" fmla="*/ 2147483647 w 90"/>
                <a:gd name="T15" fmla="*/ 2147483647 h 245"/>
                <a:gd name="T16" fmla="*/ 2147483647 w 90"/>
                <a:gd name="T17" fmla="*/ 2147483647 h 245"/>
                <a:gd name="T18" fmla="*/ 2147483647 w 90"/>
                <a:gd name="T19" fmla="*/ 2147483647 h 245"/>
                <a:gd name="T20" fmla="*/ 2147483647 w 90"/>
                <a:gd name="T21" fmla="*/ 2147483647 h 245"/>
                <a:gd name="T22" fmla="*/ 2147483647 w 90"/>
                <a:gd name="T23" fmla="*/ 2147483647 h 245"/>
                <a:gd name="T24" fmla="*/ 2147483647 w 90"/>
                <a:gd name="T25" fmla="*/ 2147483647 h 245"/>
                <a:gd name="T26" fmla="*/ 2147483647 w 90"/>
                <a:gd name="T27" fmla="*/ 2147483647 h 245"/>
                <a:gd name="T28" fmla="*/ 2147483647 w 90"/>
                <a:gd name="T29" fmla="*/ 2147483647 h 245"/>
                <a:gd name="T30" fmla="*/ 2147483647 w 90"/>
                <a:gd name="T31" fmla="*/ 2147483647 h 2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0"/>
                <a:gd name="T49" fmla="*/ 0 h 245"/>
                <a:gd name="T50" fmla="*/ 90 w 90"/>
                <a:gd name="T51" fmla="*/ 245 h 24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0" h="245">
                  <a:moveTo>
                    <a:pt x="89" y="156"/>
                  </a:moveTo>
                  <a:cubicBezTo>
                    <a:pt x="89" y="140"/>
                    <a:pt x="90" y="47"/>
                    <a:pt x="90" y="7"/>
                  </a:cubicBezTo>
                  <a:cubicBezTo>
                    <a:pt x="89" y="6"/>
                    <a:pt x="89" y="6"/>
                    <a:pt x="89" y="5"/>
                  </a:cubicBezTo>
                  <a:cubicBezTo>
                    <a:pt x="87" y="16"/>
                    <a:pt x="71" y="22"/>
                    <a:pt x="63" y="20"/>
                  </a:cubicBezTo>
                  <a:cubicBezTo>
                    <a:pt x="55" y="19"/>
                    <a:pt x="24" y="13"/>
                    <a:pt x="12" y="10"/>
                  </a:cubicBezTo>
                  <a:cubicBezTo>
                    <a:pt x="6" y="9"/>
                    <a:pt x="4" y="4"/>
                    <a:pt x="3" y="0"/>
                  </a:cubicBezTo>
                  <a:cubicBezTo>
                    <a:pt x="2" y="18"/>
                    <a:pt x="3" y="32"/>
                    <a:pt x="3" y="36"/>
                  </a:cubicBezTo>
                  <a:cubicBezTo>
                    <a:pt x="3" y="49"/>
                    <a:pt x="0" y="181"/>
                    <a:pt x="2" y="205"/>
                  </a:cubicBezTo>
                  <a:cubicBezTo>
                    <a:pt x="3" y="228"/>
                    <a:pt x="43" y="224"/>
                    <a:pt x="44" y="204"/>
                  </a:cubicBezTo>
                  <a:cubicBezTo>
                    <a:pt x="43" y="170"/>
                    <a:pt x="46" y="55"/>
                    <a:pt x="45" y="51"/>
                  </a:cubicBezTo>
                  <a:cubicBezTo>
                    <a:pt x="45" y="47"/>
                    <a:pt x="36" y="46"/>
                    <a:pt x="36" y="39"/>
                  </a:cubicBezTo>
                  <a:cubicBezTo>
                    <a:pt x="36" y="46"/>
                    <a:pt x="45" y="47"/>
                    <a:pt x="45" y="51"/>
                  </a:cubicBezTo>
                  <a:cubicBezTo>
                    <a:pt x="46" y="55"/>
                    <a:pt x="43" y="170"/>
                    <a:pt x="44" y="204"/>
                  </a:cubicBezTo>
                  <a:cubicBezTo>
                    <a:pt x="44" y="206"/>
                    <a:pt x="44" y="211"/>
                    <a:pt x="44" y="211"/>
                  </a:cubicBezTo>
                  <a:cubicBezTo>
                    <a:pt x="46" y="245"/>
                    <a:pt x="87" y="235"/>
                    <a:pt x="88" y="218"/>
                  </a:cubicBezTo>
                  <a:cubicBezTo>
                    <a:pt x="90" y="201"/>
                    <a:pt x="88" y="171"/>
                    <a:pt x="89" y="15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87057"/>
              </a:schemeClr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>
                <a:defRPr/>
              </a:pPr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57" name="Freeform 590"/>
            <p:cNvSpPr>
              <a:spLocks noChangeAspect="1"/>
            </p:cNvSpPr>
            <p:nvPr/>
          </p:nvSpPr>
          <p:spPr bwMode="gray">
            <a:xfrm>
              <a:off x="6876256" y="3425254"/>
              <a:ext cx="248167" cy="244475"/>
            </a:xfrm>
            <a:custGeom>
              <a:avLst/>
              <a:gdLst/>
              <a:ahLst/>
              <a:cxnLst>
                <a:cxn ang="0">
                  <a:pos x="192" y="194"/>
                </a:cxn>
                <a:cxn ang="0">
                  <a:pos x="169" y="49"/>
                </a:cxn>
                <a:cxn ang="0">
                  <a:pos x="143" y="24"/>
                </a:cxn>
                <a:cxn ang="0">
                  <a:pos x="100" y="12"/>
                </a:cxn>
                <a:cxn ang="0">
                  <a:pos x="60" y="2"/>
                </a:cxn>
                <a:cxn ang="0">
                  <a:pos x="30" y="11"/>
                </a:cxn>
                <a:cxn ang="0">
                  <a:pos x="4" y="159"/>
                </a:cxn>
                <a:cxn ang="0">
                  <a:pos x="36" y="168"/>
                </a:cxn>
                <a:cxn ang="0">
                  <a:pos x="54" y="47"/>
                </a:cxn>
                <a:cxn ang="0">
                  <a:pos x="53" y="164"/>
                </a:cxn>
                <a:cxn ang="0">
                  <a:pos x="62" y="174"/>
                </a:cxn>
                <a:cxn ang="0">
                  <a:pos x="113" y="188"/>
                </a:cxn>
                <a:cxn ang="0">
                  <a:pos x="140" y="169"/>
                </a:cxn>
                <a:cxn ang="0">
                  <a:pos x="140" y="169"/>
                </a:cxn>
                <a:cxn ang="0">
                  <a:pos x="138" y="87"/>
                </a:cxn>
                <a:cxn ang="0">
                  <a:pos x="136" y="70"/>
                </a:cxn>
                <a:cxn ang="0">
                  <a:pos x="136" y="69"/>
                </a:cxn>
                <a:cxn ang="0">
                  <a:pos x="136" y="70"/>
                </a:cxn>
                <a:cxn ang="0">
                  <a:pos x="138" y="87"/>
                </a:cxn>
                <a:cxn ang="0">
                  <a:pos x="159" y="203"/>
                </a:cxn>
                <a:cxn ang="0">
                  <a:pos x="192" y="194"/>
                </a:cxn>
              </a:cxnLst>
              <a:rect l="0" t="0" r="r" b="b"/>
              <a:pathLst>
                <a:path w="198" h="231">
                  <a:moveTo>
                    <a:pt x="192" y="194"/>
                  </a:moveTo>
                  <a:cubicBezTo>
                    <a:pt x="189" y="184"/>
                    <a:pt x="172" y="67"/>
                    <a:pt x="169" y="49"/>
                  </a:cubicBezTo>
                  <a:cubicBezTo>
                    <a:pt x="166" y="32"/>
                    <a:pt x="151" y="26"/>
                    <a:pt x="143" y="24"/>
                  </a:cubicBezTo>
                  <a:cubicBezTo>
                    <a:pt x="135" y="21"/>
                    <a:pt x="113" y="16"/>
                    <a:pt x="100" y="12"/>
                  </a:cubicBezTo>
                  <a:cubicBezTo>
                    <a:pt x="88" y="9"/>
                    <a:pt x="69" y="3"/>
                    <a:pt x="60" y="2"/>
                  </a:cubicBezTo>
                  <a:cubicBezTo>
                    <a:pt x="51" y="0"/>
                    <a:pt x="33" y="3"/>
                    <a:pt x="30" y="11"/>
                  </a:cubicBezTo>
                  <a:cubicBezTo>
                    <a:pt x="28" y="17"/>
                    <a:pt x="8" y="139"/>
                    <a:pt x="4" y="159"/>
                  </a:cubicBezTo>
                  <a:cubicBezTo>
                    <a:pt x="0" y="180"/>
                    <a:pt x="31" y="184"/>
                    <a:pt x="36" y="168"/>
                  </a:cubicBezTo>
                  <a:cubicBezTo>
                    <a:pt x="40" y="157"/>
                    <a:pt x="55" y="38"/>
                    <a:pt x="54" y="47"/>
                  </a:cubicBezTo>
                  <a:cubicBezTo>
                    <a:pt x="54" y="53"/>
                    <a:pt x="53" y="121"/>
                    <a:pt x="53" y="164"/>
                  </a:cubicBezTo>
                  <a:cubicBezTo>
                    <a:pt x="54" y="169"/>
                    <a:pt x="56" y="173"/>
                    <a:pt x="62" y="174"/>
                  </a:cubicBezTo>
                  <a:cubicBezTo>
                    <a:pt x="74" y="177"/>
                    <a:pt x="106" y="187"/>
                    <a:pt x="113" y="188"/>
                  </a:cubicBezTo>
                  <a:cubicBezTo>
                    <a:pt x="121" y="190"/>
                    <a:pt x="137" y="180"/>
                    <a:pt x="140" y="169"/>
                  </a:cubicBezTo>
                  <a:cubicBezTo>
                    <a:pt x="140" y="169"/>
                    <a:pt x="140" y="169"/>
                    <a:pt x="140" y="169"/>
                  </a:cubicBezTo>
                  <a:cubicBezTo>
                    <a:pt x="140" y="141"/>
                    <a:pt x="140" y="110"/>
                    <a:pt x="138" y="87"/>
                  </a:cubicBezTo>
                  <a:cubicBezTo>
                    <a:pt x="137" y="78"/>
                    <a:pt x="137" y="73"/>
                    <a:pt x="136" y="70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69"/>
                    <a:pt x="136" y="69"/>
                    <a:pt x="136" y="70"/>
                  </a:cubicBezTo>
                  <a:cubicBezTo>
                    <a:pt x="137" y="75"/>
                    <a:pt x="138" y="81"/>
                    <a:pt x="138" y="87"/>
                  </a:cubicBezTo>
                  <a:cubicBezTo>
                    <a:pt x="141" y="109"/>
                    <a:pt x="148" y="149"/>
                    <a:pt x="159" y="203"/>
                  </a:cubicBezTo>
                  <a:cubicBezTo>
                    <a:pt x="165" y="231"/>
                    <a:pt x="198" y="218"/>
                    <a:pt x="192" y="194"/>
                  </a:cubicBezTo>
                </a:path>
              </a:pathLst>
            </a:custGeom>
            <a:gradFill rotWithShape="1">
              <a:gsLst>
                <a:gs pos="0">
                  <a:schemeClr val="bg1"/>
                </a:gs>
                <a:gs pos="50000">
                  <a:schemeClr val="bg1">
                    <a:gamma/>
                    <a:shade val="85882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893014">
                <a:defRPr/>
              </a:pPr>
              <a:endParaRPr lang="en-CA" sz="17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57241" name="Freeform 591"/>
            <p:cNvSpPr>
              <a:spLocks noChangeAspect="1"/>
            </p:cNvSpPr>
            <p:nvPr/>
          </p:nvSpPr>
          <p:spPr bwMode="gray">
            <a:xfrm>
              <a:off x="6941064" y="3431604"/>
              <a:ext cx="110648" cy="198438"/>
            </a:xfrm>
            <a:custGeom>
              <a:avLst/>
              <a:gdLst>
                <a:gd name="T0" fmla="*/ 2147483647 w 87"/>
                <a:gd name="T1" fmla="*/ 2147483647 h 185"/>
                <a:gd name="T2" fmla="*/ 2147483647 w 87"/>
                <a:gd name="T3" fmla="*/ 2147483647 h 185"/>
                <a:gd name="T4" fmla="*/ 2147483647 w 87"/>
                <a:gd name="T5" fmla="*/ 2147483647 h 185"/>
                <a:gd name="T6" fmla="*/ 2147483647 w 87"/>
                <a:gd name="T7" fmla="*/ 2147483647 h 185"/>
                <a:gd name="T8" fmla="*/ 2147483647 w 87"/>
                <a:gd name="T9" fmla="*/ 2147483647 h 185"/>
                <a:gd name="T10" fmla="*/ 2147483647 w 87"/>
                <a:gd name="T11" fmla="*/ 2147483647 h 185"/>
                <a:gd name="T12" fmla="*/ 2147483647 w 87"/>
                <a:gd name="T13" fmla="*/ 2147483647 h 185"/>
                <a:gd name="T14" fmla="*/ 2147483647 w 87"/>
                <a:gd name="T15" fmla="*/ 2147483647 h 185"/>
                <a:gd name="T16" fmla="*/ 2147483647 w 87"/>
                <a:gd name="T17" fmla="*/ 2147483647 h 185"/>
                <a:gd name="T18" fmla="*/ 2147483647 w 87"/>
                <a:gd name="T19" fmla="*/ 2147483647 h 185"/>
                <a:gd name="T20" fmla="*/ 2147483647 w 87"/>
                <a:gd name="T21" fmla="*/ 2147483647 h 185"/>
                <a:gd name="T22" fmla="*/ 2147483647 w 87"/>
                <a:gd name="T23" fmla="*/ 0 h 185"/>
                <a:gd name="T24" fmla="*/ 2147483647 w 87"/>
                <a:gd name="T25" fmla="*/ 2147483647 h 185"/>
                <a:gd name="T26" fmla="*/ 2147483647 w 87"/>
                <a:gd name="T27" fmla="*/ 2147483647 h 185"/>
                <a:gd name="T28" fmla="*/ 2147483647 w 87"/>
                <a:gd name="T29" fmla="*/ 2147483647 h 185"/>
                <a:gd name="T30" fmla="*/ 0 w 87"/>
                <a:gd name="T31" fmla="*/ 2147483647 h 185"/>
                <a:gd name="T32" fmla="*/ 2147483647 w 87"/>
                <a:gd name="T33" fmla="*/ 2147483647 h 185"/>
                <a:gd name="T34" fmla="*/ 2147483647 w 87"/>
                <a:gd name="T35" fmla="*/ 2147483647 h 185"/>
                <a:gd name="T36" fmla="*/ 2147483647 w 87"/>
                <a:gd name="T37" fmla="*/ 2147483647 h 185"/>
                <a:gd name="T38" fmla="*/ 2147483647 w 87"/>
                <a:gd name="T39" fmla="*/ 2147483647 h 1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85"/>
                <a:gd name="T62" fmla="*/ 87 w 87"/>
                <a:gd name="T63" fmla="*/ 185 h 18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85">
                  <a:moveTo>
                    <a:pt x="87" y="103"/>
                  </a:moveTo>
                  <a:cubicBezTo>
                    <a:pt x="84" y="113"/>
                    <a:pt x="72" y="121"/>
                    <a:pt x="63" y="122"/>
                  </a:cubicBezTo>
                  <a:cubicBezTo>
                    <a:pt x="63" y="122"/>
                    <a:pt x="63" y="122"/>
                    <a:pt x="63" y="122"/>
                  </a:cubicBezTo>
                  <a:cubicBezTo>
                    <a:pt x="63" y="122"/>
                    <a:pt x="63" y="51"/>
                    <a:pt x="63" y="41"/>
                  </a:cubicBezTo>
                  <a:cubicBezTo>
                    <a:pt x="63" y="30"/>
                    <a:pt x="71" y="15"/>
                    <a:pt x="76" y="15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58" y="12"/>
                    <a:pt x="50" y="26"/>
                    <a:pt x="49" y="37"/>
                  </a:cubicBezTo>
                  <a:cubicBezTo>
                    <a:pt x="48" y="49"/>
                    <a:pt x="49" y="118"/>
                    <a:pt x="49" y="118"/>
                  </a:cubicBezTo>
                  <a:cubicBezTo>
                    <a:pt x="40" y="116"/>
                    <a:pt x="28" y="112"/>
                    <a:pt x="19" y="110"/>
                  </a:cubicBezTo>
                  <a:cubicBezTo>
                    <a:pt x="18" y="108"/>
                    <a:pt x="18" y="39"/>
                    <a:pt x="18" y="29"/>
                  </a:cubicBezTo>
                  <a:cubicBezTo>
                    <a:pt x="18" y="18"/>
                    <a:pt x="27" y="3"/>
                    <a:pt x="31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7" y="15"/>
                    <a:pt x="6" y="26"/>
                  </a:cubicBezTo>
                  <a:cubicBezTo>
                    <a:pt x="5" y="37"/>
                    <a:pt x="6" y="100"/>
                    <a:pt x="6" y="107"/>
                  </a:cubicBezTo>
                  <a:cubicBezTo>
                    <a:pt x="3" y="105"/>
                    <a:pt x="2" y="102"/>
                    <a:pt x="1" y="99"/>
                  </a:cubicBezTo>
                  <a:cubicBezTo>
                    <a:pt x="0" y="119"/>
                    <a:pt x="0" y="141"/>
                    <a:pt x="0" y="159"/>
                  </a:cubicBezTo>
                  <a:cubicBezTo>
                    <a:pt x="1" y="164"/>
                    <a:pt x="4" y="169"/>
                    <a:pt x="10" y="170"/>
                  </a:cubicBezTo>
                  <a:cubicBezTo>
                    <a:pt x="22" y="172"/>
                    <a:pt x="53" y="182"/>
                    <a:pt x="61" y="184"/>
                  </a:cubicBezTo>
                  <a:cubicBezTo>
                    <a:pt x="69" y="185"/>
                    <a:pt x="85" y="176"/>
                    <a:pt x="87" y="164"/>
                  </a:cubicBezTo>
                  <a:cubicBezTo>
                    <a:pt x="87" y="144"/>
                    <a:pt x="87" y="123"/>
                    <a:pt x="87" y="103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87057"/>
              </a:schemeClr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>
                <a:defRPr/>
              </a:pPr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87" name="Freeform 592"/>
            <p:cNvSpPr>
              <a:spLocks noChangeAspect="1"/>
            </p:cNvSpPr>
            <p:nvPr/>
          </p:nvSpPr>
          <p:spPr bwMode="gray">
            <a:xfrm>
              <a:off x="6955098" y="3414142"/>
              <a:ext cx="82689" cy="42863"/>
            </a:xfrm>
            <a:custGeom>
              <a:avLst/>
              <a:gdLst>
                <a:gd name="T0" fmla="*/ 2147483647 w 66"/>
                <a:gd name="T1" fmla="*/ 2147483647 h 41"/>
                <a:gd name="T2" fmla="*/ 2147483647 w 66"/>
                <a:gd name="T3" fmla="*/ 2147483647 h 41"/>
                <a:gd name="T4" fmla="*/ 2147483647 w 66"/>
                <a:gd name="T5" fmla="*/ 2147483647 h 41"/>
                <a:gd name="T6" fmla="*/ 2147483647 w 66"/>
                <a:gd name="T7" fmla="*/ 2147483647 h 41"/>
                <a:gd name="T8" fmla="*/ 2147483647 w 66"/>
                <a:gd name="T9" fmla="*/ 2147483647 h 41"/>
                <a:gd name="T10" fmla="*/ 2147483647 w 66"/>
                <a:gd name="T11" fmla="*/ 2147483647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6"/>
                <a:gd name="T19" fmla="*/ 0 h 41"/>
                <a:gd name="T20" fmla="*/ 66 w 66"/>
                <a:gd name="T21" fmla="*/ 41 h 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6" h="41">
                  <a:moveTo>
                    <a:pt x="29" y="39"/>
                  </a:moveTo>
                  <a:cubicBezTo>
                    <a:pt x="14" y="37"/>
                    <a:pt x="0" y="25"/>
                    <a:pt x="9" y="23"/>
                  </a:cubicBezTo>
                  <a:cubicBezTo>
                    <a:pt x="16" y="21"/>
                    <a:pt x="13" y="16"/>
                    <a:pt x="15" y="13"/>
                  </a:cubicBezTo>
                  <a:cubicBezTo>
                    <a:pt x="18" y="10"/>
                    <a:pt x="53" y="0"/>
                    <a:pt x="53" y="16"/>
                  </a:cubicBezTo>
                  <a:cubicBezTo>
                    <a:pt x="53" y="21"/>
                    <a:pt x="47" y="25"/>
                    <a:pt x="57" y="30"/>
                  </a:cubicBezTo>
                  <a:cubicBezTo>
                    <a:pt x="66" y="33"/>
                    <a:pt x="46" y="41"/>
                    <a:pt x="29" y="39"/>
                  </a:cubicBezTo>
                  <a:close/>
                </a:path>
              </a:pathLst>
            </a:custGeom>
            <a:solidFill>
              <a:srgbClr val="FFFFFF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88" name="Oval 593"/>
            <p:cNvSpPr>
              <a:spLocks noChangeAspect="1" noChangeArrowheads="1"/>
            </p:cNvSpPr>
            <p:nvPr/>
          </p:nvSpPr>
          <p:spPr bwMode="gray">
            <a:xfrm flipH="1">
              <a:off x="6945484" y="3358580"/>
              <a:ext cx="98072" cy="84137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92175">
                <a:spcBef>
                  <a:spcPct val="0"/>
                </a:spcBef>
              </a:pPr>
              <a:endParaRPr lang="en-CA" sz="170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057244" name="Freeform 594"/>
            <p:cNvSpPr>
              <a:spLocks noChangeAspect="1"/>
            </p:cNvSpPr>
            <p:nvPr/>
          </p:nvSpPr>
          <p:spPr bwMode="gray">
            <a:xfrm>
              <a:off x="6923676" y="3356992"/>
              <a:ext cx="120132" cy="53975"/>
            </a:xfrm>
            <a:custGeom>
              <a:avLst/>
              <a:gdLst>
                <a:gd name="T0" fmla="*/ 2147483647 w 94"/>
                <a:gd name="T1" fmla="*/ 2147483647 h 50"/>
                <a:gd name="T2" fmla="*/ 2147483647 w 94"/>
                <a:gd name="T3" fmla="*/ 2147483647 h 50"/>
                <a:gd name="T4" fmla="*/ 2147483647 w 94"/>
                <a:gd name="T5" fmla="*/ 2147483647 h 50"/>
                <a:gd name="T6" fmla="*/ 2147483647 w 94"/>
                <a:gd name="T7" fmla="*/ 2147483647 h 50"/>
                <a:gd name="T8" fmla="*/ 2147483647 w 94"/>
                <a:gd name="T9" fmla="*/ 2147483647 h 50"/>
                <a:gd name="T10" fmla="*/ 2147483647 w 94"/>
                <a:gd name="T11" fmla="*/ 2147483647 h 50"/>
                <a:gd name="T12" fmla="*/ 2147483647 w 94"/>
                <a:gd name="T13" fmla="*/ 2147483647 h 50"/>
                <a:gd name="T14" fmla="*/ 2147483647 w 94"/>
                <a:gd name="T15" fmla="*/ 2147483647 h 50"/>
                <a:gd name="T16" fmla="*/ 2147483647 w 94"/>
                <a:gd name="T17" fmla="*/ 2147483647 h 50"/>
                <a:gd name="T18" fmla="*/ 2147483647 w 94"/>
                <a:gd name="T19" fmla="*/ 2147483647 h 50"/>
                <a:gd name="T20" fmla="*/ 2147483647 w 94"/>
                <a:gd name="T21" fmla="*/ 2147483647 h 50"/>
                <a:gd name="T22" fmla="*/ 2147483647 w 94"/>
                <a:gd name="T23" fmla="*/ 2147483647 h 50"/>
                <a:gd name="T24" fmla="*/ 2147483647 w 94"/>
                <a:gd name="T25" fmla="*/ 2147483647 h 50"/>
                <a:gd name="T26" fmla="*/ 2147483647 w 94"/>
                <a:gd name="T27" fmla="*/ 2147483647 h 50"/>
                <a:gd name="T28" fmla="*/ 2147483647 w 94"/>
                <a:gd name="T29" fmla="*/ 2147483647 h 50"/>
                <a:gd name="T30" fmla="*/ 2147483647 w 94"/>
                <a:gd name="T31" fmla="*/ 2147483647 h 50"/>
                <a:gd name="T32" fmla="*/ 0 w 94"/>
                <a:gd name="T33" fmla="*/ 2147483647 h 50"/>
                <a:gd name="T34" fmla="*/ 2147483647 w 94"/>
                <a:gd name="T35" fmla="*/ 2147483647 h 50"/>
                <a:gd name="T36" fmla="*/ 2147483647 w 94"/>
                <a:gd name="T37" fmla="*/ 2147483647 h 50"/>
                <a:gd name="T38" fmla="*/ 2147483647 w 94"/>
                <a:gd name="T39" fmla="*/ 2147483647 h 50"/>
                <a:gd name="T40" fmla="*/ 2147483647 w 94"/>
                <a:gd name="T41" fmla="*/ 2147483647 h 50"/>
                <a:gd name="T42" fmla="*/ 2147483647 w 94"/>
                <a:gd name="T43" fmla="*/ 2147483647 h 50"/>
                <a:gd name="T44" fmla="*/ 2147483647 w 94"/>
                <a:gd name="T45" fmla="*/ 2147483647 h 50"/>
                <a:gd name="T46" fmla="*/ 2147483647 w 94"/>
                <a:gd name="T47" fmla="*/ 2147483647 h 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4"/>
                <a:gd name="T73" fmla="*/ 0 h 50"/>
                <a:gd name="T74" fmla="*/ 94 w 94"/>
                <a:gd name="T75" fmla="*/ 50 h 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4" h="50">
                  <a:moveTo>
                    <a:pt x="54" y="1"/>
                  </a:moveTo>
                  <a:cubicBezTo>
                    <a:pt x="52" y="1"/>
                    <a:pt x="51" y="1"/>
                    <a:pt x="49" y="1"/>
                  </a:cubicBezTo>
                  <a:cubicBezTo>
                    <a:pt x="49" y="1"/>
                    <a:pt x="48" y="1"/>
                    <a:pt x="48" y="1"/>
                  </a:cubicBezTo>
                  <a:cubicBezTo>
                    <a:pt x="47" y="2"/>
                    <a:pt x="46" y="2"/>
                    <a:pt x="44" y="2"/>
                  </a:cubicBezTo>
                  <a:cubicBezTo>
                    <a:pt x="44" y="2"/>
                    <a:pt x="44" y="2"/>
                    <a:pt x="43" y="3"/>
                  </a:cubicBezTo>
                  <a:cubicBezTo>
                    <a:pt x="42" y="3"/>
                    <a:pt x="41" y="3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7" y="5"/>
                    <a:pt x="36" y="6"/>
                    <a:pt x="35" y="6"/>
                  </a:cubicBezTo>
                  <a:cubicBezTo>
                    <a:pt x="35" y="6"/>
                    <a:pt x="35" y="7"/>
                    <a:pt x="34" y="7"/>
                  </a:cubicBezTo>
                  <a:cubicBezTo>
                    <a:pt x="33" y="7"/>
                    <a:pt x="32" y="8"/>
                    <a:pt x="31" y="9"/>
                  </a:cubicBezTo>
                  <a:cubicBezTo>
                    <a:pt x="31" y="9"/>
                    <a:pt x="31" y="9"/>
                    <a:pt x="30" y="10"/>
                  </a:cubicBezTo>
                  <a:cubicBezTo>
                    <a:pt x="27" y="13"/>
                    <a:pt x="24" y="16"/>
                    <a:pt x="21" y="2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2"/>
                    <a:pt x="20" y="22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7" y="27"/>
                    <a:pt x="3" y="32"/>
                    <a:pt x="0" y="35"/>
                  </a:cubicBezTo>
                  <a:cubicBezTo>
                    <a:pt x="2" y="32"/>
                    <a:pt x="6" y="33"/>
                    <a:pt x="10" y="34"/>
                  </a:cubicBezTo>
                  <a:cubicBezTo>
                    <a:pt x="12" y="34"/>
                    <a:pt x="14" y="35"/>
                    <a:pt x="16" y="36"/>
                  </a:cubicBezTo>
                  <a:cubicBezTo>
                    <a:pt x="18" y="36"/>
                    <a:pt x="19" y="37"/>
                    <a:pt x="20" y="37"/>
                  </a:cubicBezTo>
                  <a:cubicBezTo>
                    <a:pt x="27" y="41"/>
                    <a:pt x="34" y="50"/>
                    <a:pt x="40" y="48"/>
                  </a:cubicBezTo>
                  <a:cubicBezTo>
                    <a:pt x="40" y="48"/>
                    <a:pt x="51" y="40"/>
                    <a:pt x="57" y="40"/>
                  </a:cubicBezTo>
                  <a:cubicBezTo>
                    <a:pt x="84" y="41"/>
                    <a:pt x="94" y="34"/>
                    <a:pt x="94" y="34"/>
                  </a:cubicBezTo>
                  <a:cubicBezTo>
                    <a:pt x="92" y="14"/>
                    <a:pt x="74" y="0"/>
                    <a:pt x="54" y="1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87057"/>
              </a:schemeClr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>
                <a:defRPr/>
              </a:pPr>
              <a:endParaRPr lang="en-US" sz="1700">
                <a:solidFill>
                  <a:srgbClr val="000000"/>
                </a:solidFill>
              </a:endParaRPr>
            </a:p>
          </p:txBody>
        </p:sp>
        <p:grpSp>
          <p:nvGrpSpPr>
            <p:cNvPr id="4" name="Group 114"/>
            <p:cNvGrpSpPr>
              <a:grpSpLocks/>
            </p:cNvGrpSpPr>
            <p:nvPr/>
          </p:nvGrpSpPr>
          <p:grpSpPr bwMode="auto">
            <a:xfrm>
              <a:off x="7008976" y="3625278"/>
              <a:ext cx="169225" cy="100012"/>
              <a:chOff x="4825964" y="3554025"/>
              <a:chExt cx="139165" cy="100946"/>
            </a:xfrm>
          </p:grpSpPr>
          <p:sp>
            <p:nvSpPr>
              <p:cNvPr id="63" name="Freeform 596"/>
              <p:cNvSpPr>
                <a:spLocks noChangeAspect="1"/>
              </p:cNvSpPr>
              <p:nvPr/>
            </p:nvSpPr>
            <p:spPr bwMode="gray">
              <a:xfrm>
                <a:off x="4826011" y="3578062"/>
                <a:ext cx="100092" cy="65695"/>
              </a:xfrm>
              <a:custGeom>
                <a:avLst/>
                <a:gdLst/>
                <a:ahLst/>
                <a:cxnLst>
                  <a:cxn ang="0">
                    <a:pos x="0" y="224"/>
                  </a:cxn>
                  <a:cxn ang="0">
                    <a:pos x="0" y="90"/>
                  </a:cxn>
                  <a:cxn ang="0">
                    <a:pos x="338" y="0"/>
                  </a:cxn>
                  <a:cxn ang="0">
                    <a:pos x="338" y="135"/>
                  </a:cxn>
                  <a:cxn ang="0">
                    <a:pos x="0" y="224"/>
                  </a:cxn>
                  <a:cxn ang="0">
                    <a:pos x="0" y="224"/>
                  </a:cxn>
                </a:cxnLst>
                <a:rect l="0" t="0" r="r" b="b"/>
                <a:pathLst>
                  <a:path w="338" h="224">
                    <a:moveTo>
                      <a:pt x="0" y="224"/>
                    </a:moveTo>
                    <a:lnTo>
                      <a:pt x="0" y="90"/>
                    </a:lnTo>
                    <a:lnTo>
                      <a:pt x="338" y="0"/>
                    </a:lnTo>
                    <a:lnTo>
                      <a:pt x="338" y="135"/>
                    </a:lnTo>
                    <a:lnTo>
                      <a:pt x="0" y="224"/>
                    </a:lnTo>
                    <a:lnTo>
                      <a:pt x="0" y="224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bg1"/>
                  </a:gs>
                  <a:gs pos="50000">
                    <a:schemeClr val="bg1">
                      <a:gamma/>
                      <a:shade val="85882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6350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893014">
                  <a:defRPr/>
                </a:pPr>
                <a:endParaRPr lang="en-CA" sz="17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" name="Freeform 597"/>
              <p:cNvSpPr>
                <a:spLocks noChangeAspect="1"/>
              </p:cNvSpPr>
              <p:nvPr/>
            </p:nvSpPr>
            <p:spPr bwMode="gray">
              <a:xfrm>
                <a:off x="4926103" y="3554027"/>
                <a:ext cx="38997" cy="72105"/>
              </a:xfrm>
              <a:custGeom>
                <a:avLst/>
                <a:gdLst/>
                <a:ahLst/>
                <a:cxnLst>
                  <a:cxn ang="0">
                    <a:pos x="83" y="10"/>
                  </a:cxn>
                  <a:cxn ang="0">
                    <a:pos x="83" y="10"/>
                  </a:cxn>
                  <a:cxn ang="0">
                    <a:pos x="47" y="0"/>
                  </a:cxn>
                  <a:cxn ang="0">
                    <a:pos x="0" y="78"/>
                  </a:cxn>
                  <a:cxn ang="0">
                    <a:pos x="0" y="213"/>
                  </a:cxn>
                  <a:cxn ang="0">
                    <a:pos x="130" y="246"/>
                  </a:cxn>
                  <a:cxn ang="0">
                    <a:pos x="130" y="111"/>
                  </a:cxn>
                  <a:cxn ang="0">
                    <a:pos x="130" y="111"/>
                  </a:cxn>
                  <a:cxn ang="0">
                    <a:pos x="83" y="10"/>
                  </a:cxn>
                </a:cxnLst>
                <a:rect l="0" t="0" r="r" b="b"/>
                <a:pathLst>
                  <a:path w="130" h="246">
                    <a:moveTo>
                      <a:pt x="83" y="10"/>
                    </a:moveTo>
                    <a:lnTo>
                      <a:pt x="83" y="10"/>
                    </a:lnTo>
                    <a:lnTo>
                      <a:pt x="47" y="0"/>
                    </a:lnTo>
                    <a:lnTo>
                      <a:pt x="0" y="78"/>
                    </a:lnTo>
                    <a:lnTo>
                      <a:pt x="0" y="213"/>
                    </a:lnTo>
                    <a:lnTo>
                      <a:pt x="130" y="246"/>
                    </a:lnTo>
                    <a:lnTo>
                      <a:pt x="130" y="111"/>
                    </a:lnTo>
                    <a:lnTo>
                      <a:pt x="130" y="111"/>
                    </a:lnTo>
                    <a:lnTo>
                      <a:pt x="83" y="10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bg1"/>
                  </a:gs>
                  <a:gs pos="50000">
                    <a:schemeClr val="bg1">
                      <a:gamma/>
                      <a:shade val="85882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6350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893014">
                  <a:defRPr/>
                </a:pPr>
                <a:endParaRPr lang="en-CA" sz="17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5" name="Freeform 598"/>
              <p:cNvSpPr>
                <a:spLocks noChangeAspect="1"/>
              </p:cNvSpPr>
              <p:nvPr/>
            </p:nvSpPr>
            <p:spPr bwMode="gray">
              <a:xfrm>
                <a:off x="4863708" y="3587676"/>
                <a:ext cx="101392" cy="67298"/>
              </a:xfrm>
              <a:custGeom>
                <a:avLst/>
                <a:gdLst/>
                <a:ahLst/>
                <a:cxnLst>
                  <a:cxn ang="0">
                    <a:pos x="0" y="227"/>
                  </a:cxn>
                  <a:cxn ang="0">
                    <a:pos x="0" y="92"/>
                  </a:cxn>
                  <a:cxn ang="0">
                    <a:pos x="340" y="0"/>
                  </a:cxn>
                  <a:cxn ang="0">
                    <a:pos x="340" y="135"/>
                  </a:cxn>
                  <a:cxn ang="0">
                    <a:pos x="0" y="227"/>
                  </a:cxn>
                  <a:cxn ang="0">
                    <a:pos x="0" y="227"/>
                  </a:cxn>
                </a:cxnLst>
                <a:rect l="0" t="0" r="r" b="b"/>
                <a:pathLst>
                  <a:path w="340" h="227">
                    <a:moveTo>
                      <a:pt x="0" y="227"/>
                    </a:moveTo>
                    <a:lnTo>
                      <a:pt x="0" y="92"/>
                    </a:lnTo>
                    <a:lnTo>
                      <a:pt x="340" y="0"/>
                    </a:lnTo>
                    <a:lnTo>
                      <a:pt x="340" y="135"/>
                    </a:lnTo>
                    <a:lnTo>
                      <a:pt x="0" y="227"/>
                    </a:lnTo>
                    <a:lnTo>
                      <a:pt x="0" y="227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bg1"/>
                  </a:gs>
                  <a:gs pos="50000">
                    <a:schemeClr val="bg1">
                      <a:gamma/>
                      <a:shade val="85882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6350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893014">
                  <a:defRPr/>
                </a:pPr>
                <a:endParaRPr lang="en-CA" sz="17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" name="Freeform 599"/>
              <p:cNvSpPr>
                <a:spLocks noChangeAspect="1"/>
              </p:cNvSpPr>
              <p:nvPr/>
            </p:nvSpPr>
            <p:spPr bwMode="gray">
              <a:xfrm>
                <a:off x="4841610" y="3568448"/>
                <a:ext cx="106592" cy="32047"/>
              </a:xfrm>
              <a:custGeom>
                <a:avLst/>
                <a:gdLst/>
                <a:ahLst/>
                <a:cxnLst>
                  <a:cxn ang="0">
                    <a:pos x="147" y="2"/>
                  </a:cxn>
                  <a:cxn ang="0">
                    <a:pos x="144" y="0"/>
                  </a:cxn>
                  <a:cxn ang="0">
                    <a:pos x="2" y="38"/>
                  </a:cxn>
                  <a:cxn ang="0">
                    <a:pos x="2" y="43"/>
                  </a:cxn>
                  <a:cxn ang="0">
                    <a:pos x="5" y="44"/>
                  </a:cxn>
                  <a:cxn ang="0">
                    <a:pos x="147" y="6"/>
                  </a:cxn>
                  <a:cxn ang="0">
                    <a:pos x="147" y="2"/>
                  </a:cxn>
                </a:cxnLst>
                <a:rect l="0" t="0" r="r" b="b"/>
                <a:pathLst>
                  <a:path w="149" h="45">
                    <a:moveTo>
                      <a:pt x="147" y="2"/>
                    </a:moveTo>
                    <a:cubicBezTo>
                      <a:pt x="146" y="0"/>
                      <a:pt x="144" y="0"/>
                      <a:pt x="144" y="0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0" y="39"/>
                      <a:pt x="2" y="43"/>
                    </a:cubicBezTo>
                    <a:cubicBezTo>
                      <a:pt x="3" y="45"/>
                      <a:pt x="5" y="44"/>
                      <a:pt x="5" y="44"/>
                    </a:cubicBezTo>
                    <a:cubicBezTo>
                      <a:pt x="147" y="6"/>
                      <a:pt x="147" y="6"/>
                      <a:pt x="147" y="6"/>
                    </a:cubicBezTo>
                    <a:cubicBezTo>
                      <a:pt x="147" y="6"/>
                      <a:pt x="149" y="5"/>
                      <a:pt x="147" y="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1"/>
                  </a:gs>
                  <a:gs pos="50000">
                    <a:schemeClr val="bg1">
                      <a:gamma/>
                      <a:shade val="85882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6350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893014">
                  <a:defRPr/>
                </a:pPr>
                <a:endParaRPr lang="en-CA" sz="17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" name="Freeform 600"/>
              <p:cNvSpPr>
                <a:spLocks noChangeAspect="1"/>
              </p:cNvSpPr>
              <p:nvPr/>
            </p:nvSpPr>
            <p:spPr bwMode="gray">
              <a:xfrm>
                <a:off x="4826011" y="3582869"/>
                <a:ext cx="37697" cy="72105"/>
              </a:xfrm>
              <a:custGeom>
                <a:avLst/>
                <a:gdLst/>
                <a:ahLst/>
                <a:cxnLst>
                  <a:cxn ang="0">
                    <a:pos x="83" y="8"/>
                  </a:cxn>
                  <a:cxn ang="0">
                    <a:pos x="83" y="8"/>
                  </a:cxn>
                  <a:cxn ang="0">
                    <a:pos x="48" y="0"/>
                  </a:cxn>
                  <a:cxn ang="0">
                    <a:pos x="0" y="76"/>
                  </a:cxn>
                  <a:cxn ang="0">
                    <a:pos x="0" y="210"/>
                  </a:cxn>
                  <a:cxn ang="0">
                    <a:pos x="128" y="246"/>
                  </a:cxn>
                  <a:cxn ang="0">
                    <a:pos x="128" y="111"/>
                  </a:cxn>
                  <a:cxn ang="0">
                    <a:pos x="128" y="111"/>
                  </a:cxn>
                  <a:cxn ang="0">
                    <a:pos x="83" y="8"/>
                  </a:cxn>
                </a:cxnLst>
                <a:rect l="0" t="0" r="r" b="b"/>
                <a:pathLst>
                  <a:path w="128" h="246">
                    <a:moveTo>
                      <a:pt x="83" y="8"/>
                    </a:moveTo>
                    <a:lnTo>
                      <a:pt x="83" y="8"/>
                    </a:lnTo>
                    <a:lnTo>
                      <a:pt x="48" y="0"/>
                    </a:lnTo>
                    <a:lnTo>
                      <a:pt x="0" y="76"/>
                    </a:lnTo>
                    <a:lnTo>
                      <a:pt x="0" y="210"/>
                    </a:lnTo>
                    <a:lnTo>
                      <a:pt x="128" y="246"/>
                    </a:lnTo>
                    <a:lnTo>
                      <a:pt x="128" y="111"/>
                    </a:lnTo>
                    <a:lnTo>
                      <a:pt x="128" y="111"/>
                    </a:lnTo>
                    <a:lnTo>
                      <a:pt x="83" y="8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bg1"/>
                  </a:gs>
                  <a:gs pos="50000">
                    <a:schemeClr val="bg1">
                      <a:gamma/>
                      <a:shade val="85882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6350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893014">
                  <a:defRPr/>
                </a:pPr>
                <a:endParaRPr lang="en-CA" sz="17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8" name="Freeform 601"/>
              <p:cNvSpPr>
                <a:spLocks noChangeAspect="1"/>
              </p:cNvSpPr>
              <p:nvPr/>
            </p:nvSpPr>
            <p:spPr bwMode="gray">
              <a:xfrm>
                <a:off x="4842910" y="3594086"/>
                <a:ext cx="5200" cy="6409"/>
              </a:xfrm>
              <a:custGeom>
                <a:avLst/>
                <a:gdLst/>
                <a:ahLst/>
                <a:cxnLst>
                  <a:cxn ang="0">
                    <a:pos x="6" y="7"/>
                  </a:cxn>
                  <a:cxn ang="0">
                    <a:pos x="1" y="5"/>
                  </a:cxn>
                  <a:cxn ang="0">
                    <a:pos x="1" y="1"/>
                  </a:cxn>
                  <a:cxn ang="0">
                    <a:pos x="5" y="2"/>
                  </a:cxn>
                  <a:cxn ang="0">
                    <a:pos x="6" y="7"/>
                  </a:cxn>
                </a:cxnLst>
                <a:rect l="0" t="0" r="r" b="b"/>
                <a:pathLst>
                  <a:path w="7" h="8">
                    <a:moveTo>
                      <a:pt x="6" y="7"/>
                    </a:moveTo>
                    <a:cubicBezTo>
                      <a:pt x="4" y="8"/>
                      <a:pt x="3" y="7"/>
                      <a:pt x="1" y="5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2" y="0"/>
                      <a:pt x="4" y="1"/>
                      <a:pt x="5" y="2"/>
                    </a:cubicBezTo>
                    <a:cubicBezTo>
                      <a:pt x="7" y="4"/>
                      <a:pt x="7" y="6"/>
                      <a:pt x="6" y="7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1"/>
                  </a:gs>
                  <a:gs pos="50000">
                    <a:schemeClr val="bg1">
                      <a:gamma/>
                      <a:shade val="85882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6350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893014">
                  <a:defRPr/>
                </a:pPr>
                <a:endParaRPr lang="en-CA" sz="17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12298" name="Source"/>
          <p:cNvSpPr>
            <a:spLocks noGrp="1"/>
          </p:cNvSpPr>
          <p:nvPr/>
        </p:nvSpPr>
        <p:spPr bwMode="auto">
          <a:xfrm>
            <a:off x="1143000" y="4400550"/>
            <a:ext cx="873125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algn="ctr" defTabSz="981075" eaLnBrk="0" hangingPunct="0">
              <a:spcBef>
                <a:spcPct val="40000"/>
              </a:spcBef>
              <a:buClr>
                <a:srgbClr val="000000"/>
              </a:buClr>
              <a:buFont typeface="Verdana" pitchFamily="34" charset="0"/>
              <a:buNone/>
            </a:pPr>
            <a: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  <a:t>Under-ground mining</a:t>
            </a:r>
          </a:p>
        </p:txBody>
      </p:sp>
      <p:sp>
        <p:nvSpPr>
          <p:cNvPr id="12299" name="Source"/>
          <p:cNvSpPr>
            <a:spLocks noGrp="1"/>
          </p:cNvSpPr>
          <p:nvPr/>
        </p:nvSpPr>
        <p:spPr bwMode="auto">
          <a:xfrm>
            <a:off x="3924300" y="3467100"/>
            <a:ext cx="1219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algn="ctr" defTabSz="981075" eaLnBrk="0" hangingPunct="0">
              <a:spcBef>
                <a:spcPct val="40000"/>
              </a:spcBef>
              <a:buClr>
                <a:srgbClr val="000000"/>
              </a:buClr>
              <a:buFont typeface="Verdana" pitchFamily="34" charset="0"/>
              <a:buNone/>
            </a:pPr>
            <a: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  <a:t>Open pit</a:t>
            </a:r>
            <a:b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</a:br>
            <a: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  <a:t>mining</a:t>
            </a:r>
          </a:p>
        </p:txBody>
      </p:sp>
      <p:sp>
        <p:nvSpPr>
          <p:cNvPr id="12300" name="Source"/>
          <p:cNvSpPr>
            <a:spLocks noGrp="1"/>
          </p:cNvSpPr>
          <p:nvPr/>
        </p:nvSpPr>
        <p:spPr bwMode="auto">
          <a:xfrm>
            <a:off x="3890963" y="5775325"/>
            <a:ext cx="1219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algn="ctr" defTabSz="981075" eaLnBrk="0" hangingPunct="0">
              <a:spcBef>
                <a:spcPct val="40000"/>
              </a:spcBef>
              <a:buClr>
                <a:srgbClr val="000000"/>
              </a:buClr>
              <a:buFont typeface="Verdana" pitchFamily="34" charset="0"/>
              <a:buNone/>
            </a:pPr>
            <a: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  <a:t>Ore</a:t>
            </a:r>
            <a:b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</a:br>
            <a: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  <a:t>concentration</a:t>
            </a:r>
          </a:p>
        </p:txBody>
      </p:sp>
      <p:sp>
        <p:nvSpPr>
          <p:cNvPr id="12301" name="Source"/>
          <p:cNvSpPr>
            <a:spLocks noGrp="1"/>
          </p:cNvSpPr>
          <p:nvPr/>
        </p:nvSpPr>
        <p:spPr bwMode="auto">
          <a:xfrm>
            <a:off x="5570538" y="5473700"/>
            <a:ext cx="1512887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algn="ctr" defTabSz="981075" eaLnBrk="0" hangingPunct="0">
              <a:spcBef>
                <a:spcPct val="40000"/>
              </a:spcBef>
              <a:buClr>
                <a:srgbClr val="000000"/>
              </a:buClr>
              <a:buFont typeface="Verdana" pitchFamily="34" charset="0"/>
              <a:buNone/>
            </a:pPr>
            <a: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  <a:t>Mineral processing</a:t>
            </a:r>
          </a:p>
        </p:txBody>
      </p:sp>
      <p:sp>
        <p:nvSpPr>
          <p:cNvPr id="12302" name="Source"/>
          <p:cNvSpPr>
            <a:spLocks noGrp="1"/>
          </p:cNvSpPr>
          <p:nvPr/>
        </p:nvSpPr>
        <p:spPr bwMode="auto">
          <a:xfrm>
            <a:off x="5961063" y="3997325"/>
            <a:ext cx="1219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6800" tIns="46800" rIns="46800" bIns="46800">
            <a:spAutoFit/>
          </a:bodyPr>
          <a:lstStyle/>
          <a:p>
            <a:pPr algn="ctr" defTabSz="981075" eaLnBrk="0" hangingPunct="0">
              <a:spcBef>
                <a:spcPct val="40000"/>
              </a:spcBef>
              <a:buClr>
                <a:srgbClr val="000000"/>
              </a:buClr>
              <a:buFont typeface="Verdana" pitchFamily="34" charset="0"/>
              <a:buNone/>
            </a:pPr>
            <a: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  <a:t>Coal</a:t>
            </a:r>
            <a:b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</a:br>
            <a:r>
              <a:rPr lang="en-US" altLang="ja-JP" sz="1000" b="1">
                <a:solidFill>
                  <a:srgbClr val="666666"/>
                </a:solidFill>
                <a:ea typeface="ＭＳ Ｐゴシック" pitchFamily="34" charset="-128"/>
                <a:cs typeface="Arial" charset="0"/>
              </a:rPr>
              <a:t>processing</a:t>
            </a:r>
          </a:p>
        </p:txBody>
      </p:sp>
      <p:sp>
        <p:nvSpPr>
          <p:cNvPr id="12303" name="TextBox 73"/>
          <p:cNvSpPr txBox="1">
            <a:spLocks noChangeArrowheads="1"/>
          </p:cNvSpPr>
          <p:nvPr/>
        </p:nvSpPr>
        <p:spPr bwMode="auto">
          <a:xfrm>
            <a:off x="7672388" y="1595438"/>
            <a:ext cx="1266825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92175">
              <a:spcBef>
                <a:spcPct val="0"/>
              </a:spcBef>
            </a:pPr>
            <a:r>
              <a:rPr lang="en-US" sz="1100" b="1">
                <a:solidFill>
                  <a:srgbClr val="000000"/>
                </a:solidFill>
                <a:cs typeface="Arial" charset="0"/>
              </a:rPr>
              <a:t>Typical mining site</a:t>
            </a:r>
          </a:p>
        </p:txBody>
      </p:sp>
      <p:sp>
        <p:nvSpPr>
          <p:cNvPr id="75" name="Rounded Rectangular Callout 74"/>
          <p:cNvSpPr/>
          <p:nvPr/>
        </p:nvSpPr>
        <p:spPr>
          <a:xfrm>
            <a:off x="7272338" y="1984375"/>
            <a:ext cx="1655762" cy="860425"/>
          </a:xfrm>
          <a:prstGeom prst="wedgeRoundRectCallout">
            <a:avLst>
              <a:gd name="adj1" fmla="val -84658"/>
              <a:gd name="adj2" fmla="val 59126"/>
              <a:gd name="adj3" fmla="val 16667"/>
            </a:avLst>
          </a:prstGeom>
          <a:solidFill>
            <a:schemeClr val="accent2"/>
          </a:solidFill>
          <a:ln w="19050" cap="flat" cmpd="sng" algn="ctr">
            <a:noFill/>
            <a:prstDash val="solid"/>
          </a:ln>
          <a:effectLst/>
        </p:spPr>
        <p:txBody>
          <a:bodyPr lIns="0" tIns="0" rIns="0" bIns="0" anchor="ctr"/>
          <a:lstStyle/>
          <a:p>
            <a:pPr marL="92075" defTabSz="893014">
              <a:buClr>
                <a:srgbClr val="002897"/>
              </a:buClr>
              <a:defRPr/>
            </a:pPr>
            <a:r>
              <a:rPr lang="en-US" altLang="ja-JP" sz="1100" kern="0" dirty="0">
                <a:solidFill>
                  <a:srgbClr val="5BD8FF"/>
                </a:solidFill>
                <a:cs typeface="Arial" charset="0"/>
              </a:rPr>
              <a:t>Core BU Services: Service specialists in existing BUs with focused scope</a:t>
            </a:r>
          </a:p>
        </p:txBody>
      </p:sp>
      <p:sp>
        <p:nvSpPr>
          <p:cNvPr id="76" name="Can 75"/>
          <p:cNvSpPr/>
          <p:nvPr/>
        </p:nvSpPr>
        <p:spPr>
          <a:xfrm>
            <a:off x="254000" y="1933575"/>
            <a:ext cx="792163" cy="750888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306" name="TextBox 12"/>
          <p:cNvSpPr txBox="1">
            <a:spLocks noChangeArrowheads="1"/>
          </p:cNvSpPr>
          <p:nvPr/>
        </p:nvSpPr>
        <p:spPr bwMode="auto">
          <a:xfrm>
            <a:off x="152400" y="1500188"/>
            <a:ext cx="995363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PP</a:t>
            </a:r>
          </a:p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Medium Voltage</a:t>
            </a:r>
          </a:p>
        </p:txBody>
      </p:sp>
      <p:sp>
        <p:nvSpPr>
          <p:cNvPr id="85" name="Down Arrow 84"/>
          <p:cNvSpPr/>
          <p:nvPr/>
        </p:nvSpPr>
        <p:spPr>
          <a:xfrm>
            <a:off x="541338" y="2133600"/>
            <a:ext cx="233362" cy="768350"/>
          </a:xfrm>
          <a:prstGeom prst="downArrow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defTabSz="892175">
              <a:spcBef>
                <a:spcPct val="0"/>
              </a:spcBef>
            </a:pPr>
            <a:endParaRPr lang="de-CH" altLang="ja-JP" sz="110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86" name="Can 85"/>
          <p:cNvSpPr/>
          <p:nvPr/>
        </p:nvSpPr>
        <p:spPr>
          <a:xfrm>
            <a:off x="1427163" y="1933575"/>
            <a:ext cx="792162" cy="750888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309" name="TextBox 13"/>
          <p:cNvSpPr txBox="1">
            <a:spLocks noChangeArrowheads="1"/>
          </p:cNvSpPr>
          <p:nvPr/>
        </p:nvSpPr>
        <p:spPr bwMode="auto">
          <a:xfrm>
            <a:off x="1325563" y="1500188"/>
            <a:ext cx="99695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DM</a:t>
            </a:r>
          </a:p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Motors &amp; Generators</a:t>
            </a:r>
          </a:p>
        </p:txBody>
      </p:sp>
      <p:sp>
        <p:nvSpPr>
          <p:cNvPr id="88" name="Down Arrow 87"/>
          <p:cNvSpPr/>
          <p:nvPr/>
        </p:nvSpPr>
        <p:spPr>
          <a:xfrm>
            <a:off x="1716088" y="2133600"/>
            <a:ext cx="231775" cy="768350"/>
          </a:xfrm>
          <a:prstGeom prst="downArrow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defTabSz="892175">
              <a:spcBef>
                <a:spcPct val="0"/>
              </a:spcBef>
            </a:pPr>
            <a:endParaRPr lang="de-CH" altLang="ja-JP" sz="110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89" name="Can 9"/>
          <p:cNvSpPr/>
          <p:nvPr/>
        </p:nvSpPr>
        <p:spPr>
          <a:xfrm>
            <a:off x="2601913" y="1933575"/>
            <a:ext cx="790575" cy="750888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312" name="TextBox 14"/>
          <p:cNvSpPr txBox="1">
            <a:spLocks noChangeArrowheads="1"/>
          </p:cNvSpPr>
          <p:nvPr/>
        </p:nvSpPr>
        <p:spPr bwMode="auto">
          <a:xfrm>
            <a:off x="2498725" y="1500188"/>
            <a:ext cx="99695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LP</a:t>
            </a:r>
          </a:p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Control Products</a:t>
            </a:r>
          </a:p>
        </p:txBody>
      </p:sp>
      <p:sp>
        <p:nvSpPr>
          <p:cNvPr id="91" name="Down Arrow 90"/>
          <p:cNvSpPr/>
          <p:nvPr/>
        </p:nvSpPr>
        <p:spPr>
          <a:xfrm>
            <a:off x="2889250" y="2133600"/>
            <a:ext cx="231775" cy="768350"/>
          </a:xfrm>
          <a:prstGeom prst="downArrow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defTabSz="892175">
              <a:spcBef>
                <a:spcPct val="0"/>
              </a:spcBef>
            </a:pPr>
            <a:endParaRPr lang="de-CH" altLang="ja-JP" sz="110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92" name="Can 91"/>
          <p:cNvSpPr/>
          <p:nvPr/>
        </p:nvSpPr>
        <p:spPr>
          <a:xfrm>
            <a:off x="3773488" y="1933575"/>
            <a:ext cx="792162" cy="750888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315" name="TextBox 15"/>
          <p:cNvSpPr txBox="1">
            <a:spLocks noChangeArrowheads="1"/>
          </p:cNvSpPr>
          <p:nvPr/>
        </p:nvSpPr>
        <p:spPr bwMode="auto">
          <a:xfrm>
            <a:off x="3671888" y="1500188"/>
            <a:ext cx="99695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PA</a:t>
            </a:r>
          </a:p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Control Technology</a:t>
            </a:r>
          </a:p>
        </p:txBody>
      </p:sp>
      <p:sp>
        <p:nvSpPr>
          <p:cNvPr id="94" name="Down Arrow 93"/>
          <p:cNvSpPr/>
          <p:nvPr/>
        </p:nvSpPr>
        <p:spPr>
          <a:xfrm>
            <a:off x="4062413" y="2133600"/>
            <a:ext cx="231775" cy="768350"/>
          </a:xfrm>
          <a:prstGeom prst="downArrow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defTabSz="892175">
              <a:spcBef>
                <a:spcPct val="0"/>
              </a:spcBef>
            </a:pPr>
            <a:endParaRPr lang="de-CH" altLang="ja-JP" sz="110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95" name="Can 94"/>
          <p:cNvSpPr/>
          <p:nvPr/>
        </p:nvSpPr>
        <p:spPr>
          <a:xfrm>
            <a:off x="4946650" y="1933575"/>
            <a:ext cx="792163" cy="750888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318" name="TextBox 16"/>
          <p:cNvSpPr txBox="1">
            <a:spLocks noChangeArrowheads="1"/>
          </p:cNvSpPr>
          <p:nvPr/>
        </p:nvSpPr>
        <p:spPr bwMode="auto">
          <a:xfrm>
            <a:off x="4845050" y="1500188"/>
            <a:ext cx="99695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>
            <a:spAutoFit/>
          </a:bodyPr>
          <a:lstStyle/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PA</a:t>
            </a:r>
          </a:p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Measurement Products</a:t>
            </a:r>
          </a:p>
        </p:txBody>
      </p:sp>
      <p:sp>
        <p:nvSpPr>
          <p:cNvPr id="97" name="Down Arrow 96"/>
          <p:cNvSpPr/>
          <p:nvPr/>
        </p:nvSpPr>
        <p:spPr>
          <a:xfrm>
            <a:off x="5235575" y="2133600"/>
            <a:ext cx="231775" cy="768350"/>
          </a:xfrm>
          <a:prstGeom prst="downArrow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defTabSz="892175">
              <a:spcBef>
                <a:spcPct val="0"/>
              </a:spcBef>
            </a:pPr>
            <a:endParaRPr lang="de-CH" altLang="ja-JP" sz="110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98" name="Can 97"/>
          <p:cNvSpPr/>
          <p:nvPr/>
        </p:nvSpPr>
        <p:spPr>
          <a:xfrm>
            <a:off x="6210300" y="1933575"/>
            <a:ext cx="792163" cy="750888"/>
          </a:xfrm>
          <a:prstGeom prst="can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321" name="TextBox 34"/>
          <p:cNvSpPr txBox="1">
            <a:spLocks noChangeArrowheads="1"/>
          </p:cNvSpPr>
          <p:nvPr/>
        </p:nvSpPr>
        <p:spPr bwMode="auto">
          <a:xfrm>
            <a:off x="6048375" y="1500188"/>
            <a:ext cx="1116013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>
            <a:spAutoFit/>
          </a:bodyPr>
          <a:lstStyle/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PA</a:t>
            </a:r>
          </a:p>
          <a:p>
            <a:pPr algn="ctr" defTabSz="892175">
              <a:lnSpc>
                <a:spcPts val="1000"/>
              </a:lnSpc>
              <a:spcBef>
                <a:spcPct val="0"/>
              </a:spcBef>
            </a:pPr>
            <a:r>
              <a:rPr lang="en-US" sz="1100">
                <a:solidFill>
                  <a:srgbClr val="000000"/>
                </a:solidFill>
                <a:cs typeface="Arial" charset="0"/>
              </a:rPr>
              <a:t>Minerals</a:t>
            </a:r>
          </a:p>
        </p:txBody>
      </p:sp>
      <p:sp>
        <p:nvSpPr>
          <p:cNvPr id="100" name="Down Arrow 99"/>
          <p:cNvSpPr/>
          <p:nvPr/>
        </p:nvSpPr>
        <p:spPr>
          <a:xfrm>
            <a:off x="6499225" y="2133600"/>
            <a:ext cx="231775" cy="768350"/>
          </a:xfrm>
          <a:prstGeom prst="downArrow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defTabSz="892175">
              <a:spcBef>
                <a:spcPct val="0"/>
              </a:spcBef>
            </a:pPr>
            <a:endParaRPr lang="de-CH" altLang="ja-JP" sz="110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101" name="Down Arrow 100"/>
          <p:cNvSpPr/>
          <p:nvPr/>
        </p:nvSpPr>
        <p:spPr>
          <a:xfrm>
            <a:off x="6751638" y="2457450"/>
            <a:ext cx="185737" cy="939800"/>
          </a:xfrm>
          <a:prstGeom prst="downArrow">
            <a:avLst/>
          </a:prstGeom>
          <a:solidFill>
            <a:schemeClr val="accent1">
              <a:lumMod val="20000"/>
              <a:lumOff val="80000"/>
              <a:alpha val="36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" name="Isosceles Triangle 102"/>
          <p:cNvSpPr/>
          <p:nvPr/>
        </p:nvSpPr>
        <p:spPr>
          <a:xfrm rot="1431748">
            <a:off x="6492875" y="3362325"/>
            <a:ext cx="449263" cy="615950"/>
          </a:xfrm>
          <a:prstGeom prst="triangle">
            <a:avLst/>
          </a:prstGeom>
          <a:solidFill>
            <a:schemeClr val="accent1">
              <a:lumMod val="20000"/>
              <a:lumOff val="80000"/>
              <a:alpha val="36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2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4" name="Pentagon 103"/>
          <p:cNvSpPr/>
          <p:nvPr/>
        </p:nvSpPr>
        <p:spPr>
          <a:xfrm flipH="1">
            <a:off x="419100" y="2457450"/>
            <a:ext cx="6378575" cy="222250"/>
          </a:xfrm>
          <a:prstGeom prst="homePlate">
            <a:avLst>
              <a:gd name="adj" fmla="val 32023"/>
            </a:avLst>
          </a:prstGeom>
          <a:solidFill>
            <a:schemeClr val="accent1">
              <a:lumMod val="20000"/>
              <a:lumOff val="80000"/>
              <a:alpha val="36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3014">
              <a:defRPr/>
            </a:pPr>
            <a:r>
              <a:rPr lang="en-US" sz="1200" b="1" dirty="0">
                <a:solidFill>
                  <a:srgbClr val="000000"/>
                </a:solidFill>
              </a:rPr>
              <a:t>Minerals &amp; Mining Extended BU Services team coordinating across BUs</a:t>
            </a:r>
          </a:p>
        </p:txBody>
      </p:sp>
      <p:grpSp>
        <p:nvGrpSpPr>
          <p:cNvPr id="6" name="Group 214"/>
          <p:cNvGrpSpPr>
            <a:grpSpLocks/>
          </p:cNvGrpSpPr>
          <p:nvPr/>
        </p:nvGrpSpPr>
        <p:grpSpPr bwMode="auto">
          <a:xfrm>
            <a:off x="6499225" y="2908300"/>
            <a:ext cx="204788" cy="503238"/>
            <a:chOff x="543930" y="2907990"/>
            <a:chExt cx="204788" cy="503237"/>
          </a:xfrm>
        </p:grpSpPr>
        <p:sp>
          <p:nvSpPr>
            <p:cNvPr id="12378" name="Freeform 581"/>
            <p:cNvSpPr>
              <a:spLocks noChangeAspect="1"/>
            </p:cNvSpPr>
            <p:nvPr/>
          </p:nvSpPr>
          <p:spPr bwMode="gray">
            <a:xfrm flipH="1">
              <a:off x="604435" y="3151314"/>
              <a:ext cx="93861" cy="259913"/>
            </a:xfrm>
            <a:custGeom>
              <a:avLst/>
              <a:gdLst>
                <a:gd name="T0" fmla="*/ 2147483647 w 90"/>
                <a:gd name="T1" fmla="*/ 2147483647 h 245"/>
                <a:gd name="T2" fmla="*/ 2147483647 w 90"/>
                <a:gd name="T3" fmla="*/ 2147483647 h 245"/>
                <a:gd name="T4" fmla="*/ 2147483647 w 90"/>
                <a:gd name="T5" fmla="*/ 2147483647 h 245"/>
                <a:gd name="T6" fmla="*/ 2147483647 w 90"/>
                <a:gd name="T7" fmla="*/ 2147483647 h 245"/>
                <a:gd name="T8" fmla="*/ 2147483647 w 90"/>
                <a:gd name="T9" fmla="*/ 2147483647 h 245"/>
                <a:gd name="T10" fmla="*/ 2147483647 w 90"/>
                <a:gd name="T11" fmla="*/ 0 h 245"/>
                <a:gd name="T12" fmla="*/ 2147483647 w 90"/>
                <a:gd name="T13" fmla="*/ 2147483647 h 245"/>
                <a:gd name="T14" fmla="*/ 2147483647 w 90"/>
                <a:gd name="T15" fmla="*/ 2147483647 h 245"/>
                <a:gd name="T16" fmla="*/ 2147483647 w 90"/>
                <a:gd name="T17" fmla="*/ 2147483647 h 245"/>
                <a:gd name="T18" fmla="*/ 2147483647 w 90"/>
                <a:gd name="T19" fmla="*/ 2147483647 h 245"/>
                <a:gd name="T20" fmla="*/ 2147483647 w 90"/>
                <a:gd name="T21" fmla="*/ 2147483647 h 245"/>
                <a:gd name="T22" fmla="*/ 2147483647 w 90"/>
                <a:gd name="T23" fmla="*/ 2147483647 h 245"/>
                <a:gd name="T24" fmla="*/ 2147483647 w 90"/>
                <a:gd name="T25" fmla="*/ 2147483647 h 245"/>
                <a:gd name="T26" fmla="*/ 2147483647 w 90"/>
                <a:gd name="T27" fmla="*/ 2147483647 h 245"/>
                <a:gd name="T28" fmla="*/ 2147483647 w 90"/>
                <a:gd name="T29" fmla="*/ 2147483647 h 245"/>
                <a:gd name="T30" fmla="*/ 2147483647 w 90"/>
                <a:gd name="T31" fmla="*/ 2147483647 h 2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0"/>
                <a:gd name="T49" fmla="*/ 0 h 245"/>
                <a:gd name="T50" fmla="*/ 90 w 90"/>
                <a:gd name="T51" fmla="*/ 245 h 24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0" h="245">
                  <a:moveTo>
                    <a:pt x="89" y="156"/>
                  </a:moveTo>
                  <a:cubicBezTo>
                    <a:pt x="89" y="140"/>
                    <a:pt x="90" y="47"/>
                    <a:pt x="90" y="7"/>
                  </a:cubicBezTo>
                  <a:cubicBezTo>
                    <a:pt x="89" y="6"/>
                    <a:pt x="89" y="6"/>
                    <a:pt x="89" y="5"/>
                  </a:cubicBezTo>
                  <a:cubicBezTo>
                    <a:pt x="87" y="16"/>
                    <a:pt x="71" y="22"/>
                    <a:pt x="63" y="20"/>
                  </a:cubicBezTo>
                  <a:cubicBezTo>
                    <a:pt x="55" y="19"/>
                    <a:pt x="24" y="13"/>
                    <a:pt x="12" y="10"/>
                  </a:cubicBezTo>
                  <a:cubicBezTo>
                    <a:pt x="6" y="9"/>
                    <a:pt x="4" y="4"/>
                    <a:pt x="3" y="0"/>
                  </a:cubicBezTo>
                  <a:cubicBezTo>
                    <a:pt x="2" y="18"/>
                    <a:pt x="3" y="32"/>
                    <a:pt x="3" y="36"/>
                  </a:cubicBezTo>
                  <a:cubicBezTo>
                    <a:pt x="3" y="49"/>
                    <a:pt x="0" y="181"/>
                    <a:pt x="2" y="205"/>
                  </a:cubicBezTo>
                  <a:cubicBezTo>
                    <a:pt x="3" y="228"/>
                    <a:pt x="43" y="224"/>
                    <a:pt x="44" y="204"/>
                  </a:cubicBezTo>
                  <a:cubicBezTo>
                    <a:pt x="43" y="170"/>
                    <a:pt x="46" y="55"/>
                    <a:pt x="45" y="51"/>
                  </a:cubicBezTo>
                  <a:cubicBezTo>
                    <a:pt x="45" y="47"/>
                    <a:pt x="36" y="46"/>
                    <a:pt x="36" y="39"/>
                  </a:cubicBezTo>
                  <a:cubicBezTo>
                    <a:pt x="36" y="46"/>
                    <a:pt x="45" y="47"/>
                    <a:pt x="45" y="51"/>
                  </a:cubicBezTo>
                  <a:cubicBezTo>
                    <a:pt x="46" y="55"/>
                    <a:pt x="43" y="170"/>
                    <a:pt x="44" y="204"/>
                  </a:cubicBezTo>
                  <a:cubicBezTo>
                    <a:pt x="44" y="206"/>
                    <a:pt x="44" y="211"/>
                    <a:pt x="44" y="211"/>
                  </a:cubicBezTo>
                  <a:cubicBezTo>
                    <a:pt x="46" y="245"/>
                    <a:pt x="87" y="235"/>
                    <a:pt x="88" y="218"/>
                  </a:cubicBezTo>
                  <a:cubicBezTo>
                    <a:pt x="90" y="201"/>
                    <a:pt x="88" y="171"/>
                    <a:pt x="89" y="15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36" name="Freeform 582"/>
            <p:cNvSpPr>
              <a:spLocks noChangeAspect="1"/>
            </p:cNvSpPr>
            <p:nvPr/>
          </p:nvSpPr>
          <p:spPr bwMode="gray">
            <a:xfrm flipH="1">
              <a:off x="543930" y="2976253"/>
              <a:ext cx="204788" cy="244475"/>
            </a:xfrm>
            <a:custGeom>
              <a:avLst/>
              <a:gdLst/>
              <a:ahLst/>
              <a:cxnLst>
                <a:cxn ang="0">
                  <a:pos x="192" y="194"/>
                </a:cxn>
                <a:cxn ang="0">
                  <a:pos x="169" y="49"/>
                </a:cxn>
                <a:cxn ang="0">
                  <a:pos x="143" y="24"/>
                </a:cxn>
                <a:cxn ang="0">
                  <a:pos x="100" y="12"/>
                </a:cxn>
                <a:cxn ang="0">
                  <a:pos x="60" y="2"/>
                </a:cxn>
                <a:cxn ang="0">
                  <a:pos x="30" y="11"/>
                </a:cxn>
                <a:cxn ang="0">
                  <a:pos x="4" y="159"/>
                </a:cxn>
                <a:cxn ang="0">
                  <a:pos x="36" y="168"/>
                </a:cxn>
                <a:cxn ang="0">
                  <a:pos x="54" y="47"/>
                </a:cxn>
                <a:cxn ang="0">
                  <a:pos x="53" y="164"/>
                </a:cxn>
                <a:cxn ang="0">
                  <a:pos x="62" y="174"/>
                </a:cxn>
                <a:cxn ang="0">
                  <a:pos x="113" y="188"/>
                </a:cxn>
                <a:cxn ang="0">
                  <a:pos x="140" y="169"/>
                </a:cxn>
                <a:cxn ang="0">
                  <a:pos x="140" y="169"/>
                </a:cxn>
                <a:cxn ang="0">
                  <a:pos x="138" y="87"/>
                </a:cxn>
                <a:cxn ang="0">
                  <a:pos x="136" y="70"/>
                </a:cxn>
                <a:cxn ang="0">
                  <a:pos x="136" y="69"/>
                </a:cxn>
                <a:cxn ang="0">
                  <a:pos x="136" y="70"/>
                </a:cxn>
                <a:cxn ang="0">
                  <a:pos x="138" y="87"/>
                </a:cxn>
                <a:cxn ang="0">
                  <a:pos x="159" y="203"/>
                </a:cxn>
                <a:cxn ang="0">
                  <a:pos x="192" y="194"/>
                </a:cxn>
              </a:cxnLst>
              <a:rect l="0" t="0" r="r" b="b"/>
              <a:pathLst>
                <a:path w="198" h="231">
                  <a:moveTo>
                    <a:pt x="192" y="194"/>
                  </a:moveTo>
                  <a:cubicBezTo>
                    <a:pt x="189" y="184"/>
                    <a:pt x="172" y="67"/>
                    <a:pt x="169" y="49"/>
                  </a:cubicBezTo>
                  <a:cubicBezTo>
                    <a:pt x="166" y="32"/>
                    <a:pt x="151" y="26"/>
                    <a:pt x="143" y="24"/>
                  </a:cubicBezTo>
                  <a:cubicBezTo>
                    <a:pt x="135" y="21"/>
                    <a:pt x="113" y="16"/>
                    <a:pt x="100" y="12"/>
                  </a:cubicBezTo>
                  <a:cubicBezTo>
                    <a:pt x="88" y="9"/>
                    <a:pt x="69" y="3"/>
                    <a:pt x="60" y="2"/>
                  </a:cubicBezTo>
                  <a:cubicBezTo>
                    <a:pt x="51" y="0"/>
                    <a:pt x="33" y="3"/>
                    <a:pt x="30" y="11"/>
                  </a:cubicBezTo>
                  <a:cubicBezTo>
                    <a:pt x="28" y="17"/>
                    <a:pt x="8" y="139"/>
                    <a:pt x="4" y="159"/>
                  </a:cubicBezTo>
                  <a:cubicBezTo>
                    <a:pt x="0" y="180"/>
                    <a:pt x="31" y="184"/>
                    <a:pt x="36" y="168"/>
                  </a:cubicBezTo>
                  <a:cubicBezTo>
                    <a:pt x="40" y="157"/>
                    <a:pt x="55" y="38"/>
                    <a:pt x="54" y="47"/>
                  </a:cubicBezTo>
                  <a:cubicBezTo>
                    <a:pt x="54" y="53"/>
                    <a:pt x="53" y="121"/>
                    <a:pt x="53" y="164"/>
                  </a:cubicBezTo>
                  <a:cubicBezTo>
                    <a:pt x="54" y="169"/>
                    <a:pt x="56" y="173"/>
                    <a:pt x="62" y="174"/>
                  </a:cubicBezTo>
                  <a:cubicBezTo>
                    <a:pt x="74" y="177"/>
                    <a:pt x="106" y="187"/>
                    <a:pt x="113" y="188"/>
                  </a:cubicBezTo>
                  <a:cubicBezTo>
                    <a:pt x="121" y="190"/>
                    <a:pt x="137" y="180"/>
                    <a:pt x="140" y="169"/>
                  </a:cubicBezTo>
                  <a:cubicBezTo>
                    <a:pt x="140" y="169"/>
                    <a:pt x="140" y="169"/>
                    <a:pt x="140" y="169"/>
                  </a:cubicBezTo>
                  <a:cubicBezTo>
                    <a:pt x="140" y="141"/>
                    <a:pt x="140" y="110"/>
                    <a:pt x="138" y="87"/>
                  </a:cubicBezTo>
                  <a:cubicBezTo>
                    <a:pt x="137" y="78"/>
                    <a:pt x="137" y="73"/>
                    <a:pt x="136" y="70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69"/>
                    <a:pt x="136" y="69"/>
                    <a:pt x="136" y="70"/>
                  </a:cubicBezTo>
                  <a:cubicBezTo>
                    <a:pt x="137" y="75"/>
                    <a:pt x="138" y="81"/>
                    <a:pt x="138" y="87"/>
                  </a:cubicBezTo>
                  <a:cubicBezTo>
                    <a:pt x="141" y="109"/>
                    <a:pt x="148" y="149"/>
                    <a:pt x="159" y="203"/>
                  </a:cubicBezTo>
                  <a:cubicBezTo>
                    <a:pt x="165" y="231"/>
                    <a:pt x="198" y="218"/>
                    <a:pt x="192" y="194"/>
                  </a:cubicBezTo>
                </a:path>
              </a:pathLst>
            </a:custGeom>
            <a:gradFill rotWithShape="1">
              <a:gsLst>
                <a:gs pos="0">
                  <a:schemeClr val="bg1"/>
                </a:gs>
                <a:gs pos="50000">
                  <a:schemeClr val="bg1">
                    <a:gamma/>
                    <a:shade val="85882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893014">
                <a:defRPr/>
              </a:pPr>
              <a:endParaRPr lang="en-CA" sz="17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80" name="Freeform 583"/>
            <p:cNvSpPr>
              <a:spLocks noChangeAspect="1"/>
            </p:cNvSpPr>
            <p:nvPr/>
          </p:nvSpPr>
          <p:spPr bwMode="gray">
            <a:xfrm flipH="1">
              <a:off x="604435" y="2982251"/>
              <a:ext cx="91534" cy="199083"/>
            </a:xfrm>
            <a:custGeom>
              <a:avLst/>
              <a:gdLst>
                <a:gd name="T0" fmla="*/ 2147483647 w 87"/>
                <a:gd name="T1" fmla="*/ 2147483647 h 185"/>
                <a:gd name="T2" fmla="*/ 2147483647 w 87"/>
                <a:gd name="T3" fmla="*/ 2147483647 h 185"/>
                <a:gd name="T4" fmla="*/ 2147483647 w 87"/>
                <a:gd name="T5" fmla="*/ 2147483647 h 185"/>
                <a:gd name="T6" fmla="*/ 2147483647 w 87"/>
                <a:gd name="T7" fmla="*/ 2147483647 h 185"/>
                <a:gd name="T8" fmla="*/ 2147483647 w 87"/>
                <a:gd name="T9" fmla="*/ 2147483647 h 185"/>
                <a:gd name="T10" fmla="*/ 2147483647 w 87"/>
                <a:gd name="T11" fmla="*/ 2147483647 h 185"/>
                <a:gd name="T12" fmla="*/ 2147483647 w 87"/>
                <a:gd name="T13" fmla="*/ 2147483647 h 185"/>
                <a:gd name="T14" fmla="*/ 2147483647 w 87"/>
                <a:gd name="T15" fmla="*/ 2147483647 h 185"/>
                <a:gd name="T16" fmla="*/ 2147483647 w 87"/>
                <a:gd name="T17" fmla="*/ 2147483647 h 185"/>
                <a:gd name="T18" fmla="*/ 2147483647 w 87"/>
                <a:gd name="T19" fmla="*/ 2147483647 h 185"/>
                <a:gd name="T20" fmla="*/ 2147483647 w 87"/>
                <a:gd name="T21" fmla="*/ 2147483647 h 185"/>
                <a:gd name="T22" fmla="*/ 2147483647 w 87"/>
                <a:gd name="T23" fmla="*/ 0 h 185"/>
                <a:gd name="T24" fmla="*/ 2147483647 w 87"/>
                <a:gd name="T25" fmla="*/ 2147483647 h 185"/>
                <a:gd name="T26" fmla="*/ 2147483647 w 87"/>
                <a:gd name="T27" fmla="*/ 2147483647 h 185"/>
                <a:gd name="T28" fmla="*/ 2147483647 w 87"/>
                <a:gd name="T29" fmla="*/ 2147483647 h 185"/>
                <a:gd name="T30" fmla="*/ 0 w 87"/>
                <a:gd name="T31" fmla="*/ 2147483647 h 185"/>
                <a:gd name="T32" fmla="*/ 2147483647 w 87"/>
                <a:gd name="T33" fmla="*/ 2147483647 h 185"/>
                <a:gd name="T34" fmla="*/ 2147483647 w 87"/>
                <a:gd name="T35" fmla="*/ 2147483647 h 185"/>
                <a:gd name="T36" fmla="*/ 2147483647 w 87"/>
                <a:gd name="T37" fmla="*/ 2147483647 h 185"/>
                <a:gd name="T38" fmla="*/ 2147483647 w 87"/>
                <a:gd name="T39" fmla="*/ 2147483647 h 1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85"/>
                <a:gd name="T62" fmla="*/ 87 w 87"/>
                <a:gd name="T63" fmla="*/ 185 h 18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85">
                  <a:moveTo>
                    <a:pt x="87" y="103"/>
                  </a:moveTo>
                  <a:cubicBezTo>
                    <a:pt x="84" y="113"/>
                    <a:pt x="72" y="121"/>
                    <a:pt x="63" y="122"/>
                  </a:cubicBezTo>
                  <a:cubicBezTo>
                    <a:pt x="63" y="122"/>
                    <a:pt x="63" y="122"/>
                    <a:pt x="63" y="122"/>
                  </a:cubicBezTo>
                  <a:cubicBezTo>
                    <a:pt x="63" y="122"/>
                    <a:pt x="63" y="51"/>
                    <a:pt x="63" y="41"/>
                  </a:cubicBezTo>
                  <a:cubicBezTo>
                    <a:pt x="63" y="30"/>
                    <a:pt x="71" y="15"/>
                    <a:pt x="76" y="15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58" y="12"/>
                    <a:pt x="50" y="26"/>
                    <a:pt x="49" y="37"/>
                  </a:cubicBezTo>
                  <a:cubicBezTo>
                    <a:pt x="48" y="49"/>
                    <a:pt x="49" y="118"/>
                    <a:pt x="49" y="118"/>
                  </a:cubicBezTo>
                  <a:cubicBezTo>
                    <a:pt x="40" y="116"/>
                    <a:pt x="28" y="112"/>
                    <a:pt x="19" y="110"/>
                  </a:cubicBezTo>
                  <a:cubicBezTo>
                    <a:pt x="18" y="108"/>
                    <a:pt x="18" y="39"/>
                    <a:pt x="18" y="29"/>
                  </a:cubicBezTo>
                  <a:cubicBezTo>
                    <a:pt x="18" y="18"/>
                    <a:pt x="27" y="3"/>
                    <a:pt x="31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7" y="15"/>
                    <a:pt x="6" y="26"/>
                  </a:cubicBezTo>
                  <a:cubicBezTo>
                    <a:pt x="5" y="37"/>
                    <a:pt x="6" y="100"/>
                    <a:pt x="6" y="107"/>
                  </a:cubicBezTo>
                  <a:cubicBezTo>
                    <a:pt x="3" y="105"/>
                    <a:pt x="2" y="102"/>
                    <a:pt x="1" y="99"/>
                  </a:cubicBezTo>
                  <a:cubicBezTo>
                    <a:pt x="0" y="119"/>
                    <a:pt x="0" y="141"/>
                    <a:pt x="0" y="159"/>
                  </a:cubicBezTo>
                  <a:cubicBezTo>
                    <a:pt x="1" y="164"/>
                    <a:pt x="4" y="169"/>
                    <a:pt x="10" y="170"/>
                  </a:cubicBezTo>
                  <a:cubicBezTo>
                    <a:pt x="22" y="172"/>
                    <a:pt x="53" y="182"/>
                    <a:pt x="61" y="184"/>
                  </a:cubicBezTo>
                  <a:cubicBezTo>
                    <a:pt x="69" y="185"/>
                    <a:pt x="85" y="176"/>
                    <a:pt x="87" y="164"/>
                  </a:cubicBezTo>
                  <a:cubicBezTo>
                    <a:pt x="87" y="144"/>
                    <a:pt x="87" y="123"/>
                    <a:pt x="87" y="103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81" name="Freeform 584"/>
            <p:cNvSpPr>
              <a:spLocks noChangeAspect="1"/>
            </p:cNvSpPr>
            <p:nvPr/>
          </p:nvSpPr>
          <p:spPr bwMode="gray">
            <a:xfrm flipH="1">
              <a:off x="615295" y="2964081"/>
              <a:ext cx="68263" cy="43450"/>
            </a:xfrm>
            <a:custGeom>
              <a:avLst/>
              <a:gdLst>
                <a:gd name="T0" fmla="*/ 2147483647 w 66"/>
                <a:gd name="T1" fmla="*/ 2147483647 h 41"/>
                <a:gd name="T2" fmla="*/ 2147483647 w 66"/>
                <a:gd name="T3" fmla="*/ 2147483647 h 41"/>
                <a:gd name="T4" fmla="*/ 2147483647 w 66"/>
                <a:gd name="T5" fmla="*/ 2147483647 h 41"/>
                <a:gd name="T6" fmla="*/ 2147483647 w 66"/>
                <a:gd name="T7" fmla="*/ 2147483647 h 41"/>
                <a:gd name="T8" fmla="*/ 2147483647 w 66"/>
                <a:gd name="T9" fmla="*/ 2147483647 h 41"/>
                <a:gd name="T10" fmla="*/ 2147483647 w 66"/>
                <a:gd name="T11" fmla="*/ 2147483647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6"/>
                <a:gd name="T19" fmla="*/ 0 h 41"/>
                <a:gd name="T20" fmla="*/ 66 w 66"/>
                <a:gd name="T21" fmla="*/ 41 h 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6" h="41">
                  <a:moveTo>
                    <a:pt x="29" y="39"/>
                  </a:moveTo>
                  <a:cubicBezTo>
                    <a:pt x="14" y="37"/>
                    <a:pt x="0" y="25"/>
                    <a:pt x="9" y="23"/>
                  </a:cubicBezTo>
                  <a:cubicBezTo>
                    <a:pt x="16" y="21"/>
                    <a:pt x="13" y="16"/>
                    <a:pt x="15" y="13"/>
                  </a:cubicBezTo>
                  <a:cubicBezTo>
                    <a:pt x="18" y="10"/>
                    <a:pt x="53" y="0"/>
                    <a:pt x="53" y="16"/>
                  </a:cubicBezTo>
                  <a:cubicBezTo>
                    <a:pt x="53" y="21"/>
                    <a:pt x="47" y="25"/>
                    <a:pt x="57" y="30"/>
                  </a:cubicBezTo>
                  <a:cubicBezTo>
                    <a:pt x="66" y="33"/>
                    <a:pt x="46" y="41"/>
                    <a:pt x="29" y="39"/>
                  </a:cubicBezTo>
                  <a:close/>
                </a:path>
              </a:pathLst>
            </a:custGeom>
            <a:solidFill>
              <a:srgbClr val="FFFFFF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82" name="Oval 585"/>
            <p:cNvSpPr>
              <a:spLocks noChangeAspect="1" noChangeArrowheads="1"/>
            </p:cNvSpPr>
            <p:nvPr/>
          </p:nvSpPr>
          <p:spPr bwMode="gray">
            <a:xfrm>
              <a:off x="610641" y="2909570"/>
              <a:ext cx="82225" cy="82951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92175">
                <a:spcBef>
                  <a:spcPct val="0"/>
                </a:spcBef>
              </a:pPr>
              <a:endParaRPr lang="en-CA" sz="170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2383" name="Freeform 586"/>
            <p:cNvSpPr>
              <a:spLocks noChangeAspect="1"/>
            </p:cNvSpPr>
            <p:nvPr/>
          </p:nvSpPr>
          <p:spPr bwMode="gray">
            <a:xfrm flipH="1">
              <a:off x="610641" y="2907990"/>
              <a:ext cx="99291" cy="53721"/>
            </a:xfrm>
            <a:custGeom>
              <a:avLst/>
              <a:gdLst>
                <a:gd name="T0" fmla="*/ 2147483647 w 94"/>
                <a:gd name="T1" fmla="*/ 2147483647 h 50"/>
                <a:gd name="T2" fmla="*/ 2147483647 w 94"/>
                <a:gd name="T3" fmla="*/ 2147483647 h 50"/>
                <a:gd name="T4" fmla="*/ 2147483647 w 94"/>
                <a:gd name="T5" fmla="*/ 2147483647 h 50"/>
                <a:gd name="T6" fmla="*/ 2147483647 w 94"/>
                <a:gd name="T7" fmla="*/ 2147483647 h 50"/>
                <a:gd name="T8" fmla="*/ 2147483647 w 94"/>
                <a:gd name="T9" fmla="*/ 2147483647 h 50"/>
                <a:gd name="T10" fmla="*/ 2147483647 w 94"/>
                <a:gd name="T11" fmla="*/ 2147483647 h 50"/>
                <a:gd name="T12" fmla="*/ 2147483647 w 94"/>
                <a:gd name="T13" fmla="*/ 2147483647 h 50"/>
                <a:gd name="T14" fmla="*/ 2147483647 w 94"/>
                <a:gd name="T15" fmla="*/ 2147483647 h 50"/>
                <a:gd name="T16" fmla="*/ 2147483647 w 94"/>
                <a:gd name="T17" fmla="*/ 2147483647 h 50"/>
                <a:gd name="T18" fmla="*/ 2147483647 w 94"/>
                <a:gd name="T19" fmla="*/ 2147483647 h 50"/>
                <a:gd name="T20" fmla="*/ 2147483647 w 94"/>
                <a:gd name="T21" fmla="*/ 2147483647 h 50"/>
                <a:gd name="T22" fmla="*/ 2147483647 w 94"/>
                <a:gd name="T23" fmla="*/ 2147483647 h 50"/>
                <a:gd name="T24" fmla="*/ 2147483647 w 94"/>
                <a:gd name="T25" fmla="*/ 2147483647 h 50"/>
                <a:gd name="T26" fmla="*/ 2147483647 w 94"/>
                <a:gd name="T27" fmla="*/ 2147483647 h 50"/>
                <a:gd name="T28" fmla="*/ 2147483647 w 94"/>
                <a:gd name="T29" fmla="*/ 2147483647 h 50"/>
                <a:gd name="T30" fmla="*/ 2147483647 w 94"/>
                <a:gd name="T31" fmla="*/ 2147483647 h 50"/>
                <a:gd name="T32" fmla="*/ 0 w 94"/>
                <a:gd name="T33" fmla="*/ 2147483647 h 50"/>
                <a:gd name="T34" fmla="*/ 2147483647 w 94"/>
                <a:gd name="T35" fmla="*/ 2147483647 h 50"/>
                <a:gd name="T36" fmla="*/ 2147483647 w 94"/>
                <a:gd name="T37" fmla="*/ 2147483647 h 50"/>
                <a:gd name="T38" fmla="*/ 2147483647 w 94"/>
                <a:gd name="T39" fmla="*/ 2147483647 h 50"/>
                <a:gd name="T40" fmla="*/ 2147483647 w 94"/>
                <a:gd name="T41" fmla="*/ 2147483647 h 50"/>
                <a:gd name="T42" fmla="*/ 2147483647 w 94"/>
                <a:gd name="T43" fmla="*/ 2147483647 h 50"/>
                <a:gd name="T44" fmla="*/ 2147483647 w 94"/>
                <a:gd name="T45" fmla="*/ 2147483647 h 50"/>
                <a:gd name="T46" fmla="*/ 2147483647 w 94"/>
                <a:gd name="T47" fmla="*/ 2147483647 h 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4"/>
                <a:gd name="T73" fmla="*/ 0 h 50"/>
                <a:gd name="T74" fmla="*/ 94 w 94"/>
                <a:gd name="T75" fmla="*/ 50 h 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4" h="50">
                  <a:moveTo>
                    <a:pt x="54" y="1"/>
                  </a:moveTo>
                  <a:cubicBezTo>
                    <a:pt x="52" y="1"/>
                    <a:pt x="51" y="1"/>
                    <a:pt x="49" y="1"/>
                  </a:cubicBezTo>
                  <a:cubicBezTo>
                    <a:pt x="49" y="1"/>
                    <a:pt x="48" y="1"/>
                    <a:pt x="48" y="1"/>
                  </a:cubicBezTo>
                  <a:cubicBezTo>
                    <a:pt x="47" y="2"/>
                    <a:pt x="46" y="2"/>
                    <a:pt x="44" y="2"/>
                  </a:cubicBezTo>
                  <a:cubicBezTo>
                    <a:pt x="44" y="2"/>
                    <a:pt x="44" y="2"/>
                    <a:pt x="43" y="3"/>
                  </a:cubicBezTo>
                  <a:cubicBezTo>
                    <a:pt x="42" y="3"/>
                    <a:pt x="41" y="3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7" y="5"/>
                    <a:pt x="36" y="6"/>
                    <a:pt x="35" y="6"/>
                  </a:cubicBezTo>
                  <a:cubicBezTo>
                    <a:pt x="35" y="6"/>
                    <a:pt x="35" y="7"/>
                    <a:pt x="34" y="7"/>
                  </a:cubicBezTo>
                  <a:cubicBezTo>
                    <a:pt x="33" y="7"/>
                    <a:pt x="32" y="8"/>
                    <a:pt x="31" y="9"/>
                  </a:cubicBezTo>
                  <a:cubicBezTo>
                    <a:pt x="31" y="9"/>
                    <a:pt x="31" y="9"/>
                    <a:pt x="30" y="10"/>
                  </a:cubicBezTo>
                  <a:cubicBezTo>
                    <a:pt x="27" y="13"/>
                    <a:pt x="24" y="16"/>
                    <a:pt x="21" y="2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2"/>
                    <a:pt x="20" y="22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7" y="27"/>
                    <a:pt x="3" y="32"/>
                    <a:pt x="0" y="35"/>
                  </a:cubicBezTo>
                  <a:cubicBezTo>
                    <a:pt x="2" y="32"/>
                    <a:pt x="6" y="33"/>
                    <a:pt x="10" y="34"/>
                  </a:cubicBezTo>
                  <a:cubicBezTo>
                    <a:pt x="12" y="34"/>
                    <a:pt x="14" y="35"/>
                    <a:pt x="16" y="36"/>
                  </a:cubicBezTo>
                  <a:cubicBezTo>
                    <a:pt x="18" y="36"/>
                    <a:pt x="19" y="37"/>
                    <a:pt x="20" y="37"/>
                  </a:cubicBezTo>
                  <a:cubicBezTo>
                    <a:pt x="27" y="41"/>
                    <a:pt x="34" y="50"/>
                    <a:pt x="40" y="48"/>
                  </a:cubicBezTo>
                  <a:cubicBezTo>
                    <a:pt x="40" y="48"/>
                    <a:pt x="51" y="40"/>
                    <a:pt x="57" y="40"/>
                  </a:cubicBezTo>
                  <a:cubicBezTo>
                    <a:pt x="84" y="41"/>
                    <a:pt x="94" y="34"/>
                    <a:pt x="94" y="34"/>
                  </a:cubicBezTo>
                  <a:cubicBezTo>
                    <a:pt x="92" y="14"/>
                    <a:pt x="74" y="0"/>
                    <a:pt x="54" y="1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</p:grpSp>
      <p:sp>
        <p:nvSpPr>
          <p:cNvPr id="143" name="Freeform 142"/>
          <p:cNvSpPr/>
          <p:nvPr/>
        </p:nvSpPr>
        <p:spPr>
          <a:xfrm rot="452478">
            <a:off x="3852863" y="3425825"/>
            <a:ext cx="466725" cy="1631950"/>
          </a:xfrm>
          <a:custGeom>
            <a:avLst/>
            <a:gdLst>
              <a:gd name="connsiteX0" fmla="*/ 0 w 411104"/>
              <a:gd name="connsiteY0" fmla="*/ 1529981 h 1529981"/>
              <a:gd name="connsiteX1" fmla="*/ 205552 w 411104"/>
              <a:gd name="connsiteY1" fmla="*/ 0 h 1529981"/>
              <a:gd name="connsiteX2" fmla="*/ 411104 w 411104"/>
              <a:gd name="connsiteY2" fmla="*/ 1529981 h 1529981"/>
              <a:gd name="connsiteX3" fmla="*/ 0 w 411104"/>
              <a:gd name="connsiteY3" fmla="*/ 1529981 h 1529981"/>
              <a:gd name="connsiteX0" fmla="*/ 0 w 449554"/>
              <a:gd name="connsiteY0" fmla="*/ 1529981 h 1622009"/>
              <a:gd name="connsiteX1" fmla="*/ 205552 w 449554"/>
              <a:gd name="connsiteY1" fmla="*/ 0 h 1622009"/>
              <a:gd name="connsiteX2" fmla="*/ 449554 w 449554"/>
              <a:gd name="connsiteY2" fmla="*/ 1622009 h 1622009"/>
              <a:gd name="connsiteX3" fmla="*/ 0 w 449554"/>
              <a:gd name="connsiteY3" fmla="*/ 1529981 h 1622009"/>
              <a:gd name="connsiteX0" fmla="*/ 0 w 463811"/>
              <a:gd name="connsiteY0" fmla="*/ 1529981 h 1632932"/>
              <a:gd name="connsiteX1" fmla="*/ 205552 w 463811"/>
              <a:gd name="connsiteY1" fmla="*/ 0 h 1632932"/>
              <a:gd name="connsiteX2" fmla="*/ 463811 w 463811"/>
              <a:gd name="connsiteY2" fmla="*/ 1632932 h 1632932"/>
              <a:gd name="connsiteX3" fmla="*/ 0 w 463811"/>
              <a:gd name="connsiteY3" fmla="*/ 1529981 h 1632932"/>
              <a:gd name="connsiteX0" fmla="*/ 0 w 467144"/>
              <a:gd name="connsiteY0" fmla="*/ 1504801 h 1632932"/>
              <a:gd name="connsiteX1" fmla="*/ 208885 w 467144"/>
              <a:gd name="connsiteY1" fmla="*/ 0 h 1632932"/>
              <a:gd name="connsiteX2" fmla="*/ 467144 w 467144"/>
              <a:gd name="connsiteY2" fmla="*/ 1632932 h 1632932"/>
              <a:gd name="connsiteX3" fmla="*/ 0 w 467144"/>
              <a:gd name="connsiteY3" fmla="*/ 1504801 h 1632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7144" h="1632932">
                <a:moveTo>
                  <a:pt x="0" y="1504801"/>
                </a:moveTo>
                <a:lnTo>
                  <a:pt x="208885" y="0"/>
                </a:lnTo>
                <a:lnTo>
                  <a:pt x="467144" y="1632932"/>
                </a:lnTo>
                <a:lnTo>
                  <a:pt x="0" y="1504801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3014">
              <a:defRPr/>
            </a:pPr>
            <a:endParaRPr lang="en-US" sz="1400" dirty="0" err="1">
              <a:solidFill>
                <a:srgbClr val="000000"/>
              </a:solidFill>
            </a:endParaRPr>
          </a:p>
        </p:txBody>
      </p:sp>
      <p:sp>
        <p:nvSpPr>
          <p:cNvPr id="144" name="Isosceles Triangle 143"/>
          <p:cNvSpPr/>
          <p:nvPr/>
        </p:nvSpPr>
        <p:spPr>
          <a:xfrm rot="20804538">
            <a:off x="2982913" y="3378200"/>
            <a:ext cx="411162" cy="1592263"/>
          </a:xfrm>
          <a:prstGeom prst="triangle">
            <a:avLst/>
          </a:prstGeom>
          <a:solidFill>
            <a:schemeClr val="accent2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6" name="Isosceles Triangle 145"/>
          <p:cNvSpPr/>
          <p:nvPr/>
        </p:nvSpPr>
        <p:spPr>
          <a:xfrm rot="20794557">
            <a:off x="1871663" y="3429000"/>
            <a:ext cx="349250" cy="1685925"/>
          </a:xfrm>
          <a:prstGeom prst="triangle">
            <a:avLst>
              <a:gd name="adj" fmla="val 46465"/>
            </a:avLst>
          </a:prstGeom>
          <a:solidFill>
            <a:schemeClr val="accent2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5" name="Rounded Rectangular Callout 104"/>
          <p:cNvSpPr>
            <a:spLocks noChangeArrowheads="1"/>
          </p:cNvSpPr>
          <p:nvPr/>
        </p:nvSpPr>
        <p:spPr bwMode="auto">
          <a:xfrm>
            <a:off x="7272338" y="2982913"/>
            <a:ext cx="1655762" cy="3182937"/>
          </a:xfrm>
          <a:prstGeom prst="wedgeRoundRectCallout">
            <a:avLst>
              <a:gd name="adj1" fmla="val -56528"/>
              <a:gd name="adj2" fmla="val -24519"/>
              <a:gd name="adj3" fmla="val 16667"/>
            </a:avLst>
          </a:prstGeom>
          <a:solidFill>
            <a:schemeClr val="accent1">
              <a:lumMod val="20000"/>
              <a:lumOff val="80000"/>
              <a:alpha val="7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92175">
              <a:spcBef>
                <a:spcPts val="600"/>
              </a:spcBef>
              <a:buClr>
                <a:srgbClr val="002897"/>
              </a:buClr>
              <a:defRPr/>
            </a:pPr>
            <a:r>
              <a:rPr lang="en-US" altLang="ja-JP" sz="11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Extended BU Services: BU Minerals driving One ABB approach for selected customers: </a:t>
            </a:r>
          </a:p>
          <a:p>
            <a:pPr marL="85725" indent="-85725" defTabSz="892175">
              <a:spcBef>
                <a:spcPts val="600"/>
              </a:spcBef>
              <a:buClr>
                <a:srgbClr val="002897"/>
              </a:buClr>
              <a:defRPr/>
            </a:pPr>
            <a:r>
              <a:rPr lang="en-US" altLang="ja-JP" sz="11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 Managing front-end for services across ABB (incl. 3rd party), but without customer exclusivity</a:t>
            </a:r>
          </a:p>
          <a:p>
            <a:pPr marL="85725" indent="-85725" defTabSz="892175">
              <a:spcBef>
                <a:spcPts val="600"/>
              </a:spcBef>
              <a:buClr>
                <a:srgbClr val="002897"/>
              </a:buClr>
              <a:defRPr/>
            </a:pPr>
            <a:r>
              <a:rPr lang="en-US" altLang="ja-JP" sz="11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 Pulling through expertise from various BUs</a:t>
            </a:r>
          </a:p>
          <a:p>
            <a:pPr marL="85725" indent="-85725" defTabSz="892175">
              <a:spcBef>
                <a:spcPts val="600"/>
              </a:spcBef>
              <a:buClr>
                <a:srgbClr val="002897"/>
              </a:buClr>
              <a:defRPr/>
            </a:pPr>
            <a:r>
              <a:rPr lang="en-US" altLang="ja-JP" sz="1100" dirty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t> Using domain expertise to develop new industry solutions</a:t>
            </a:r>
          </a:p>
        </p:txBody>
      </p:sp>
      <p:sp>
        <p:nvSpPr>
          <p:cNvPr id="80" name="Rectangle 79"/>
          <p:cNvSpPr>
            <a:spLocks noChangeArrowheads="1"/>
          </p:cNvSpPr>
          <p:nvPr/>
        </p:nvSpPr>
        <p:spPr bwMode="auto">
          <a:xfrm>
            <a:off x="7813675" y="355600"/>
            <a:ext cx="1106488" cy="650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defTabSz="892175">
              <a:spcBef>
                <a:spcPts val="1800"/>
              </a:spcBef>
            </a:pPr>
            <a:endParaRPr lang="en-US" altLang="ja-JP" sz="140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81" name="Rectangle 80"/>
          <p:cNvSpPr>
            <a:spLocks/>
          </p:cNvSpPr>
          <p:nvPr/>
        </p:nvSpPr>
        <p:spPr bwMode="auto">
          <a:xfrm>
            <a:off x="7813675" y="441325"/>
            <a:ext cx="1106488" cy="666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defTabSz="892175">
              <a:spcBef>
                <a:spcPts val="1800"/>
              </a:spcBef>
            </a:pPr>
            <a:endParaRPr lang="en-US" altLang="ja-JP" sz="140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82" name="Rectangle 81"/>
          <p:cNvSpPr>
            <a:spLocks/>
          </p:cNvSpPr>
          <p:nvPr/>
        </p:nvSpPr>
        <p:spPr bwMode="auto">
          <a:xfrm>
            <a:off x="7813675" y="528638"/>
            <a:ext cx="1106488" cy="650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defTabSz="892175">
              <a:spcBef>
                <a:spcPts val="1800"/>
              </a:spcBef>
            </a:pPr>
            <a:endParaRPr lang="en-US" altLang="ja-JP" sz="140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83" name="Rectangle 82"/>
          <p:cNvSpPr>
            <a:spLocks/>
          </p:cNvSpPr>
          <p:nvPr/>
        </p:nvSpPr>
        <p:spPr bwMode="auto">
          <a:xfrm>
            <a:off x="7813675" y="615950"/>
            <a:ext cx="1106488" cy="650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4" name="Rectangle 83"/>
          <p:cNvSpPr>
            <a:spLocks/>
          </p:cNvSpPr>
          <p:nvPr/>
        </p:nvSpPr>
        <p:spPr bwMode="auto">
          <a:xfrm>
            <a:off x="7813675" y="701675"/>
            <a:ext cx="1106488" cy="666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defTabSz="892175">
              <a:spcBef>
                <a:spcPct val="0"/>
              </a:spcBef>
            </a:pPr>
            <a:endParaRPr lang="en-US" sz="140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3" name="Rectangle 84"/>
          <p:cNvSpPr>
            <a:spLocks noChangeArrowheads="1"/>
          </p:cNvSpPr>
          <p:nvPr/>
        </p:nvSpPr>
        <p:spPr bwMode="auto">
          <a:xfrm>
            <a:off x="7813675" y="225425"/>
            <a:ext cx="701675" cy="1111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6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7" name="Rectangle 86"/>
          <p:cNvSpPr/>
          <p:nvPr/>
        </p:nvSpPr>
        <p:spPr bwMode="auto">
          <a:xfrm>
            <a:off x="7813675" y="785813"/>
            <a:ext cx="1114425" cy="746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600" i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0" name="Rectangle 89"/>
          <p:cNvSpPr>
            <a:spLocks noChangeArrowheads="1"/>
          </p:cNvSpPr>
          <p:nvPr/>
        </p:nvSpPr>
        <p:spPr bwMode="auto">
          <a:xfrm>
            <a:off x="8502650" y="225425"/>
            <a:ext cx="415925" cy="1111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892175">
              <a:spcBef>
                <a:spcPct val="0"/>
              </a:spcBef>
            </a:pPr>
            <a:endParaRPr lang="en-US" sz="16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Rectangle 94"/>
          <p:cNvSpPr>
            <a:spLocks noChangeArrowheads="1"/>
          </p:cNvSpPr>
          <p:nvPr/>
        </p:nvSpPr>
        <p:spPr bwMode="auto">
          <a:xfrm rot="16200000">
            <a:off x="8505032" y="496093"/>
            <a:ext cx="412750" cy="1254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10800000" lIns="36000" tIns="0" rIns="36000" bIns="0" anchorCtr="1"/>
          <a:lstStyle/>
          <a:p>
            <a:pPr algn="ctr" defTabSz="892175">
              <a:spcBef>
                <a:spcPct val="0"/>
              </a:spcBef>
            </a:pPr>
            <a:endParaRPr lang="en-US" sz="13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2" name="Rectangle 111"/>
          <p:cNvSpPr>
            <a:spLocks noChangeArrowheads="1"/>
          </p:cNvSpPr>
          <p:nvPr/>
        </p:nvSpPr>
        <p:spPr bwMode="auto">
          <a:xfrm rot="16200000">
            <a:off x="8649494" y="496094"/>
            <a:ext cx="412750" cy="1254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10800000" lIns="36000" tIns="0" rIns="36000" bIns="0" anchorCtr="1"/>
          <a:lstStyle/>
          <a:p>
            <a:pPr algn="ctr" defTabSz="892175">
              <a:spcBef>
                <a:spcPct val="0"/>
              </a:spcBef>
            </a:pPr>
            <a:endParaRPr lang="en-US" sz="13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6" name="Rectangle 115"/>
          <p:cNvSpPr>
            <a:spLocks noChangeArrowheads="1"/>
          </p:cNvSpPr>
          <p:nvPr/>
        </p:nvSpPr>
        <p:spPr bwMode="auto">
          <a:xfrm rot="16200000">
            <a:off x="8358982" y="496093"/>
            <a:ext cx="412750" cy="1254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10800000" lIns="36000" tIns="0" rIns="36000" bIns="0" anchorCtr="1"/>
          <a:lstStyle/>
          <a:p>
            <a:pPr algn="ctr" defTabSz="892175">
              <a:spcBef>
                <a:spcPct val="0"/>
              </a:spcBef>
            </a:pPr>
            <a:endParaRPr lang="en-US" sz="1300" b="1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7" name="Group 214"/>
          <p:cNvGrpSpPr>
            <a:grpSpLocks/>
          </p:cNvGrpSpPr>
          <p:nvPr/>
        </p:nvGrpSpPr>
        <p:grpSpPr bwMode="auto">
          <a:xfrm>
            <a:off x="5240338" y="2908300"/>
            <a:ext cx="204787" cy="503238"/>
            <a:chOff x="543930" y="2907990"/>
            <a:chExt cx="204788" cy="503237"/>
          </a:xfrm>
        </p:grpSpPr>
        <p:sp>
          <p:nvSpPr>
            <p:cNvPr id="12372" name="Freeform 581"/>
            <p:cNvSpPr>
              <a:spLocks noChangeAspect="1"/>
            </p:cNvSpPr>
            <p:nvPr/>
          </p:nvSpPr>
          <p:spPr bwMode="gray">
            <a:xfrm flipH="1">
              <a:off x="604435" y="3151314"/>
              <a:ext cx="93861" cy="259913"/>
            </a:xfrm>
            <a:custGeom>
              <a:avLst/>
              <a:gdLst>
                <a:gd name="T0" fmla="*/ 2147483647 w 90"/>
                <a:gd name="T1" fmla="*/ 2147483647 h 245"/>
                <a:gd name="T2" fmla="*/ 2147483647 w 90"/>
                <a:gd name="T3" fmla="*/ 2147483647 h 245"/>
                <a:gd name="T4" fmla="*/ 2147483647 w 90"/>
                <a:gd name="T5" fmla="*/ 2147483647 h 245"/>
                <a:gd name="T6" fmla="*/ 2147483647 w 90"/>
                <a:gd name="T7" fmla="*/ 2147483647 h 245"/>
                <a:gd name="T8" fmla="*/ 2147483647 w 90"/>
                <a:gd name="T9" fmla="*/ 2147483647 h 245"/>
                <a:gd name="T10" fmla="*/ 2147483647 w 90"/>
                <a:gd name="T11" fmla="*/ 0 h 245"/>
                <a:gd name="T12" fmla="*/ 2147483647 w 90"/>
                <a:gd name="T13" fmla="*/ 2147483647 h 245"/>
                <a:gd name="T14" fmla="*/ 2147483647 w 90"/>
                <a:gd name="T15" fmla="*/ 2147483647 h 245"/>
                <a:gd name="T16" fmla="*/ 2147483647 w 90"/>
                <a:gd name="T17" fmla="*/ 2147483647 h 245"/>
                <a:gd name="T18" fmla="*/ 2147483647 w 90"/>
                <a:gd name="T19" fmla="*/ 2147483647 h 245"/>
                <a:gd name="T20" fmla="*/ 2147483647 w 90"/>
                <a:gd name="T21" fmla="*/ 2147483647 h 245"/>
                <a:gd name="T22" fmla="*/ 2147483647 w 90"/>
                <a:gd name="T23" fmla="*/ 2147483647 h 245"/>
                <a:gd name="T24" fmla="*/ 2147483647 w 90"/>
                <a:gd name="T25" fmla="*/ 2147483647 h 245"/>
                <a:gd name="T26" fmla="*/ 2147483647 w 90"/>
                <a:gd name="T27" fmla="*/ 2147483647 h 245"/>
                <a:gd name="T28" fmla="*/ 2147483647 w 90"/>
                <a:gd name="T29" fmla="*/ 2147483647 h 245"/>
                <a:gd name="T30" fmla="*/ 2147483647 w 90"/>
                <a:gd name="T31" fmla="*/ 2147483647 h 2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0"/>
                <a:gd name="T49" fmla="*/ 0 h 245"/>
                <a:gd name="T50" fmla="*/ 90 w 90"/>
                <a:gd name="T51" fmla="*/ 245 h 24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0" h="245">
                  <a:moveTo>
                    <a:pt x="89" y="156"/>
                  </a:moveTo>
                  <a:cubicBezTo>
                    <a:pt x="89" y="140"/>
                    <a:pt x="90" y="47"/>
                    <a:pt x="90" y="7"/>
                  </a:cubicBezTo>
                  <a:cubicBezTo>
                    <a:pt x="89" y="6"/>
                    <a:pt x="89" y="6"/>
                    <a:pt x="89" y="5"/>
                  </a:cubicBezTo>
                  <a:cubicBezTo>
                    <a:pt x="87" y="16"/>
                    <a:pt x="71" y="22"/>
                    <a:pt x="63" y="20"/>
                  </a:cubicBezTo>
                  <a:cubicBezTo>
                    <a:pt x="55" y="19"/>
                    <a:pt x="24" y="13"/>
                    <a:pt x="12" y="10"/>
                  </a:cubicBezTo>
                  <a:cubicBezTo>
                    <a:pt x="6" y="9"/>
                    <a:pt x="4" y="4"/>
                    <a:pt x="3" y="0"/>
                  </a:cubicBezTo>
                  <a:cubicBezTo>
                    <a:pt x="2" y="18"/>
                    <a:pt x="3" y="32"/>
                    <a:pt x="3" y="36"/>
                  </a:cubicBezTo>
                  <a:cubicBezTo>
                    <a:pt x="3" y="49"/>
                    <a:pt x="0" y="181"/>
                    <a:pt x="2" y="205"/>
                  </a:cubicBezTo>
                  <a:cubicBezTo>
                    <a:pt x="3" y="228"/>
                    <a:pt x="43" y="224"/>
                    <a:pt x="44" y="204"/>
                  </a:cubicBezTo>
                  <a:cubicBezTo>
                    <a:pt x="43" y="170"/>
                    <a:pt x="46" y="55"/>
                    <a:pt x="45" y="51"/>
                  </a:cubicBezTo>
                  <a:cubicBezTo>
                    <a:pt x="45" y="47"/>
                    <a:pt x="36" y="46"/>
                    <a:pt x="36" y="39"/>
                  </a:cubicBezTo>
                  <a:cubicBezTo>
                    <a:pt x="36" y="46"/>
                    <a:pt x="45" y="47"/>
                    <a:pt x="45" y="51"/>
                  </a:cubicBezTo>
                  <a:cubicBezTo>
                    <a:pt x="46" y="55"/>
                    <a:pt x="43" y="170"/>
                    <a:pt x="44" y="204"/>
                  </a:cubicBezTo>
                  <a:cubicBezTo>
                    <a:pt x="44" y="206"/>
                    <a:pt x="44" y="211"/>
                    <a:pt x="44" y="211"/>
                  </a:cubicBezTo>
                  <a:cubicBezTo>
                    <a:pt x="46" y="245"/>
                    <a:pt x="87" y="235"/>
                    <a:pt x="88" y="218"/>
                  </a:cubicBezTo>
                  <a:cubicBezTo>
                    <a:pt x="90" y="201"/>
                    <a:pt x="88" y="171"/>
                    <a:pt x="89" y="15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19" name="Freeform 582"/>
            <p:cNvSpPr>
              <a:spLocks noChangeAspect="1"/>
            </p:cNvSpPr>
            <p:nvPr/>
          </p:nvSpPr>
          <p:spPr bwMode="gray">
            <a:xfrm flipH="1">
              <a:off x="543930" y="2976253"/>
              <a:ext cx="204788" cy="244475"/>
            </a:xfrm>
            <a:custGeom>
              <a:avLst/>
              <a:gdLst/>
              <a:ahLst/>
              <a:cxnLst>
                <a:cxn ang="0">
                  <a:pos x="192" y="194"/>
                </a:cxn>
                <a:cxn ang="0">
                  <a:pos x="169" y="49"/>
                </a:cxn>
                <a:cxn ang="0">
                  <a:pos x="143" y="24"/>
                </a:cxn>
                <a:cxn ang="0">
                  <a:pos x="100" y="12"/>
                </a:cxn>
                <a:cxn ang="0">
                  <a:pos x="60" y="2"/>
                </a:cxn>
                <a:cxn ang="0">
                  <a:pos x="30" y="11"/>
                </a:cxn>
                <a:cxn ang="0">
                  <a:pos x="4" y="159"/>
                </a:cxn>
                <a:cxn ang="0">
                  <a:pos x="36" y="168"/>
                </a:cxn>
                <a:cxn ang="0">
                  <a:pos x="54" y="47"/>
                </a:cxn>
                <a:cxn ang="0">
                  <a:pos x="53" y="164"/>
                </a:cxn>
                <a:cxn ang="0">
                  <a:pos x="62" y="174"/>
                </a:cxn>
                <a:cxn ang="0">
                  <a:pos x="113" y="188"/>
                </a:cxn>
                <a:cxn ang="0">
                  <a:pos x="140" y="169"/>
                </a:cxn>
                <a:cxn ang="0">
                  <a:pos x="140" y="169"/>
                </a:cxn>
                <a:cxn ang="0">
                  <a:pos x="138" y="87"/>
                </a:cxn>
                <a:cxn ang="0">
                  <a:pos x="136" y="70"/>
                </a:cxn>
                <a:cxn ang="0">
                  <a:pos x="136" y="69"/>
                </a:cxn>
                <a:cxn ang="0">
                  <a:pos x="136" y="70"/>
                </a:cxn>
                <a:cxn ang="0">
                  <a:pos x="138" y="87"/>
                </a:cxn>
                <a:cxn ang="0">
                  <a:pos x="159" y="203"/>
                </a:cxn>
                <a:cxn ang="0">
                  <a:pos x="192" y="194"/>
                </a:cxn>
              </a:cxnLst>
              <a:rect l="0" t="0" r="r" b="b"/>
              <a:pathLst>
                <a:path w="198" h="231">
                  <a:moveTo>
                    <a:pt x="192" y="194"/>
                  </a:moveTo>
                  <a:cubicBezTo>
                    <a:pt x="189" y="184"/>
                    <a:pt x="172" y="67"/>
                    <a:pt x="169" y="49"/>
                  </a:cubicBezTo>
                  <a:cubicBezTo>
                    <a:pt x="166" y="32"/>
                    <a:pt x="151" y="26"/>
                    <a:pt x="143" y="24"/>
                  </a:cubicBezTo>
                  <a:cubicBezTo>
                    <a:pt x="135" y="21"/>
                    <a:pt x="113" y="16"/>
                    <a:pt x="100" y="12"/>
                  </a:cubicBezTo>
                  <a:cubicBezTo>
                    <a:pt x="88" y="9"/>
                    <a:pt x="69" y="3"/>
                    <a:pt x="60" y="2"/>
                  </a:cubicBezTo>
                  <a:cubicBezTo>
                    <a:pt x="51" y="0"/>
                    <a:pt x="33" y="3"/>
                    <a:pt x="30" y="11"/>
                  </a:cubicBezTo>
                  <a:cubicBezTo>
                    <a:pt x="28" y="17"/>
                    <a:pt x="8" y="139"/>
                    <a:pt x="4" y="159"/>
                  </a:cubicBezTo>
                  <a:cubicBezTo>
                    <a:pt x="0" y="180"/>
                    <a:pt x="31" y="184"/>
                    <a:pt x="36" y="168"/>
                  </a:cubicBezTo>
                  <a:cubicBezTo>
                    <a:pt x="40" y="157"/>
                    <a:pt x="55" y="38"/>
                    <a:pt x="54" y="47"/>
                  </a:cubicBezTo>
                  <a:cubicBezTo>
                    <a:pt x="54" y="53"/>
                    <a:pt x="53" y="121"/>
                    <a:pt x="53" y="164"/>
                  </a:cubicBezTo>
                  <a:cubicBezTo>
                    <a:pt x="54" y="169"/>
                    <a:pt x="56" y="173"/>
                    <a:pt x="62" y="174"/>
                  </a:cubicBezTo>
                  <a:cubicBezTo>
                    <a:pt x="74" y="177"/>
                    <a:pt x="106" y="187"/>
                    <a:pt x="113" y="188"/>
                  </a:cubicBezTo>
                  <a:cubicBezTo>
                    <a:pt x="121" y="190"/>
                    <a:pt x="137" y="180"/>
                    <a:pt x="140" y="169"/>
                  </a:cubicBezTo>
                  <a:cubicBezTo>
                    <a:pt x="140" y="169"/>
                    <a:pt x="140" y="169"/>
                    <a:pt x="140" y="169"/>
                  </a:cubicBezTo>
                  <a:cubicBezTo>
                    <a:pt x="140" y="141"/>
                    <a:pt x="140" y="110"/>
                    <a:pt x="138" y="87"/>
                  </a:cubicBezTo>
                  <a:cubicBezTo>
                    <a:pt x="137" y="78"/>
                    <a:pt x="137" y="73"/>
                    <a:pt x="136" y="70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69"/>
                    <a:pt x="136" y="69"/>
                    <a:pt x="136" y="70"/>
                  </a:cubicBezTo>
                  <a:cubicBezTo>
                    <a:pt x="137" y="75"/>
                    <a:pt x="138" y="81"/>
                    <a:pt x="138" y="87"/>
                  </a:cubicBezTo>
                  <a:cubicBezTo>
                    <a:pt x="141" y="109"/>
                    <a:pt x="148" y="149"/>
                    <a:pt x="159" y="203"/>
                  </a:cubicBezTo>
                  <a:cubicBezTo>
                    <a:pt x="165" y="231"/>
                    <a:pt x="198" y="218"/>
                    <a:pt x="192" y="194"/>
                  </a:cubicBezTo>
                </a:path>
              </a:pathLst>
            </a:custGeom>
            <a:gradFill rotWithShape="1">
              <a:gsLst>
                <a:gs pos="0">
                  <a:schemeClr val="bg1"/>
                </a:gs>
                <a:gs pos="50000">
                  <a:schemeClr val="bg1">
                    <a:gamma/>
                    <a:shade val="85882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893014">
                <a:defRPr/>
              </a:pPr>
              <a:endParaRPr lang="en-CA" sz="17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74" name="Freeform 583"/>
            <p:cNvSpPr>
              <a:spLocks noChangeAspect="1"/>
            </p:cNvSpPr>
            <p:nvPr/>
          </p:nvSpPr>
          <p:spPr bwMode="gray">
            <a:xfrm flipH="1">
              <a:off x="604435" y="2982251"/>
              <a:ext cx="91534" cy="199083"/>
            </a:xfrm>
            <a:custGeom>
              <a:avLst/>
              <a:gdLst>
                <a:gd name="T0" fmla="*/ 2147483647 w 87"/>
                <a:gd name="T1" fmla="*/ 2147483647 h 185"/>
                <a:gd name="T2" fmla="*/ 2147483647 w 87"/>
                <a:gd name="T3" fmla="*/ 2147483647 h 185"/>
                <a:gd name="T4" fmla="*/ 2147483647 w 87"/>
                <a:gd name="T5" fmla="*/ 2147483647 h 185"/>
                <a:gd name="T6" fmla="*/ 2147483647 w 87"/>
                <a:gd name="T7" fmla="*/ 2147483647 h 185"/>
                <a:gd name="T8" fmla="*/ 2147483647 w 87"/>
                <a:gd name="T9" fmla="*/ 2147483647 h 185"/>
                <a:gd name="T10" fmla="*/ 2147483647 w 87"/>
                <a:gd name="T11" fmla="*/ 2147483647 h 185"/>
                <a:gd name="T12" fmla="*/ 2147483647 w 87"/>
                <a:gd name="T13" fmla="*/ 2147483647 h 185"/>
                <a:gd name="T14" fmla="*/ 2147483647 w 87"/>
                <a:gd name="T15" fmla="*/ 2147483647 h 185"/>
                <a:gd name="T16" fmla="*/ 2147483647 w 87"/>
                <a:gd name="T17" fmla="*/ 2147483647 h 185"/>
                <a:gd name="T18" fmla="*/ 2147483647 w 87"/>
                <a:gd name="T19" fmla="*/ 2147483647 h 185"/>
                <a:gd name="T20" fmla="*/ 2147483647 w 87"/>
                <a:gd name="T21" fmla="*/ 2147483647 h 185"/>
                <a:gd name="T22" fmla="*/ 2147483647 w 87"/>
                <a:gd name="T23" fmla="*/ 0 h 185"/>
                <a:gd name="T24" fmla="*/ 2147483647 w 87"/>
                <a:gd name="T25" fmla="*/ 2147483647 h 185"/>
                <a:gd name="T26" fmla="*/ 2147483647 w 87"/>
                <a:gd name="T27" fmla="*/ 2147483647 h 185"/>
                <a:gd name="T28" fmla="*/ 2147483647 w 87"/>
                <a:gd name="T29" fmla="*/ 2147483647 h 185"/>
                <a:gd name="T30" fmla="*/ 0 w 87"/>
                <a:gd name="T31" fmla="*/ 2147483647 h 185"/>
                <a:gd name="T32" fmla="*/ 2147483647 w 87"/>
                <a:gd name="T33" fmla="*/ 2147483647 h 185"/>
                <a:gd name="T34" fmla="*/ 2147483647 w 87"/>
                <a:gd name="T35" fmla="*/ 2147483647 h 185"/>
                <a:gd name="T36" fmla="*/ 2147483647 w 87"/>
                <a:gd name="T37" fmla="*/ 2147483647 h 185"/>
                <a:gd name="T38" fmla="*/ 2147483647 w 87"/>
                <a:gd name="T39" fmla="*/ 2147483647 h 1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85"/>
                <a:gd name="T62" fmla="*/ 87 w 87"/>
                <a:gd name="T63" fmla="*/ 185 h 18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85">
                  <a:moveTo>
                    <a:pt x="87" y="103"/>
                  </a:moveTo>
                  <a:cubicBezTo>
                    <a:pt x="84" y="113"/>
                    <a:pt x="72" y="121"/>
                    <a:pt x="63" y="122"/>
                  </a:cubicBezTo>
                  <a:cubicBezTo>
                    <a:pt x="63" y="122"/>
                    <a:pt x="63" y="122"/>
                    <a:pt x="63" y="122"/>
                  </a:cubicBezTo>
                  <a:cubicBezTo>
                    <a:pt x="63" y="122"/>
                    <a:pt x="63" y="51"/>
                    <a:pt x="63" y="41"/>
                  </a:cubicBezTo>
                  <a:cubicBezTo>
                    <a:pt x="63" y="30"/>
                    <a:pt x="71" y="15"/>
                    <a:pt x="76" y="15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58" y="12"/>
                    <a:pt x="50" y="26"/>
                    <a:pt x="49" y="37"/>
                  </a:cubicBezTo>
                  <a:cubicBezTo>
                    <a:pt x="48" y="49"/>
                    <a:pt x="49" y="118"/>
                    <a:pt x="49" y="118"/>
                  </a:cubicBezTo>
                  <a:cubicBezTo>
                    <a:pt x="40" y="116"/>
                    <a:pt x="28" y="112"/>
                    <a:pt x="19" y="110"/>
                  </a:cubicBezTo>
                  <a:cubicBezTo>
                    <a:pt x="18" y="108"/>
                    <a:pt x="18" y="39"/>
                    <a:pt x="18" y="29"/>
                  </a:cubicBezTo>
                  <a:cubicBezTo>
                    <a:pt x="18" y="18"/>
                    <a:pt x="27" y="3"/>
                    <a:pt x="31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7" y="15"/>
                    <a:pt x="6" y="26"/>
                  </a:cubicBezTo>
                  <a:cubicBezTo>
                    <a:pt x="5" y="37"/>
                    <a:pt x="6" y="100"/>
                    <a:pt x="6" y="107"/>
                  </a:cubicBezTo>
                  <a:cubicBezTo>
                    <a:pt x="3" y="105"/>
                    <a:pt x="2" y="102"/>
                    <a:pt x="1" y="99"/>
                  </a:cubicBezTo>
                  <a:cubicBezTo>
                    <a:pt x="0" y="119"/>
                    <a:pt x="0" y="141"/>
                    <a:pt x="0" y="159"/>
                  </a:cubicBezTo>
                  <a:cubicBezTo>
                    <a:pt x="1" y="164"/>
                    <a:pt x="4" y="169"/>
                    <a:pt x="10" y="170"/>
                  </a:cubicBezTo>
                  <a:cubicBezTo>
                    <a:pt x="22" y="172"/>
                    <a:pt x="53" y="182"/>
                    <a:pt x="61" y="184"/>
                  </a:cubicBezTo>
                  <a:cubicBezTo>
                    <a:pt x="69" y="185"/>
                    <a:pt x="85" y="176"/>
                    <a:pt x="87" y="164"/>
                  </a:cubicBezTo>
                  <a:cubicBezTo>
                    <a:pt x="87" y="144"/>
                    <a:pt x="87" y="123"/>
                    <a:pt x="87" y="103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75" name="Freeform 584"/>
            <p:cNvSpPr>
              <a:spLocks noChangeAspect="1"/>
            </p:cNvSpPr>
            <p:nvPr/>
          </p:nvSpPr>
          <p:spPr bwMode="gray">
            <a:xfrm flipH="1">
              <a:off x="615295" y="2964081"/>
              <a:ext cx="68263" cy="43450"/>
            </a:xfrm>
            <a:custGeom>
              <a:avLst/>
              <a:gdLst>
                <a:gd name="T0" fmla="*/ 2147483647 w 66"/>
                <a:gd name="T1" fmla="*/ 2147483647 h 41"/>
                <a:gd name="T2" fmla="*/ 2147483647 w 66"/>
                <a:gd name="T3" fmla="*/ 2147483647 h 41"/>
                <a:gd name="T4" fmla="*/ 2147483647 w 66"/>
                <a:gd name="T5" fmla="*/ 2147483647 h 41"/>
                <a:gd name="T6" fmla="*/ 2147483647 w 66"/>
                <a:gd name="T7" fmla="*/ 2147483647 h 41"/>
                <a:gd name="T8" fmla="*/ 2147483647 w 66"/>
                <a:gd name="T9" fmla="*/ 2147483647 h 41"/>
                <a:gd name="T10" fmla="*/ 2147483647 w 66"/>
                <a:gd name="T11" fmla="*/ 2147483647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6"/>
                <a:gd name="T19" fmla="*/ 0 h 41"/>
                <a:gd name="T20" fmla="*/ 66 w 66"/>
                <a:gd name="T21" fmla="*/ 41 h 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6" h="41">
                  <a:moveTo>
                    <a:pt x="29" y="39"/>
                  </a:moveTo>
                  <a:cubicBezTo>
                    <a:pt x="14" y="37"/>
                    <a:pt x="0" y="25"/>
                    <a:pt x="9" y="23"/>
                  </a:cubicBezTo>
                  <a:cubicBezTo>
                    <a:pt x="16" y="21"/>
                    <a:pt x="13" y="16"/>
                    <a:pt x="15" y="13"/>
                  </a:cubicBezTo>
                  <a:cubicBezTo>
                    <a:pt x="18" y="10"/>
                    <a:pt x="53" y="0"/>
                    <a:pt x="53" y="16"/>
                  </a:cubicBezTo>
                  <a:cubicBezTo>
                    <a:pt x="53" y="21"/>
                    <a:pt x="47" y="25"/>
                    <a:pt x="57" y="30"/>
                  </a:cubicBezTo>
                  <a:cubicBezTo>
                    <a:pt x="66" y="33"/>
                    <a:pt x="46" y="41"/>
                    <a:pt x="29" y="39"/>
                  </a:cubicBezTo>
                  <a:close/>
                </a:path>
              </a:pathLst>
            </a:custGeom>
            <a:solidFill>
              <a:srgbClr val="FFFFFF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76" name="Oval 585"/>
            <p:cNvSpPr>
              <a:spLocks noChangeAspect="1" noChangeArrowheads="1"/>
            </p:cNvSpPr>
            <p:nvPr/>
          </p:nvSpPr>
          <p:spPr bwMode="gray">
            <a:xfrm>
              <a:off x="610641" y="2909570"/>
              <a:ext cx="82225" cy="82951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92175">
                <a:spcBef>
                  <a:spcPct val="0"/>
                </a:spcBef>
              </a:pPr>
              <a:endParaRPr lang="en-CA" sz="170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2377" name="Freeform 586"/>
            <p:cNvSpPr>
              <a:spLocks noChangeAspect="1"/>
            </p:cNvSpPr>
            <p:nvPr/>
          </p:nvSpPr>
          <p:spPr bwMode="gray">
            <a:xfrm flipH="1">
              <a:off x="610641" y="2907990"/>
              <a:ext cx="99291" cy="53721"/>
            </a:xfrm>
            <a:custGeom>
              <a:avLst/>
              <a:gdLst>
                <a:gd name="T0" fmla="*/ 2147483647 w 94"/>
                <a:gd name="T1" fmla="*/ 2147483647 h 50"/>
                <a:gd name="T2" fmla="*/ 2147483647 w 94"/>
                <a:gd name="T3" fmla="*/ 2147483647 h 50"/>
                <a:gd name="T4" fmla="*/ 2147483647 w 94"/>
                <a:gd name="T5" fmla="*/ 2147483647 h 50"/>
                <a:gd name="T6" fmla="*/ 2147483647 w 94"/>
                <a:gd name="T7" fmla="*/ 2147483647 h 50"/>
                <a:gd name="T8" fmla="*/ 2147483647 w 94"/>
                <a:gd name="T9" fmla="*/ 2147483647 h 50"/>
                <a:gd name="T10" fmla="*/ 2147483647 w 94"/>
                <a:gd name="T11" fmla="*/ 2147483647 h 50"/>
                <a:gd name="T12" fmla="*/ 2147483647 w 94"/>
                <a:gd name="T13" fmla="*/ 2147483647 h 50"/>
                <a:gd name="T14" fmla="*/ 2147483647 w 94"/>
                <a:gd name="T15" fmla="*/ 2147483647 h 50"/>
                <a:gd name="T16" fmla="*/ 2147483647 w 94"/>
                <a:gd name="T17" fmla="*/ 2147483647 h 50"/>
                <a:gd name="T18" fmla="*/ 2147483647 w 94"/>
                <a:gd name="T19" fmla="*/ 2147483647 h 50"/>
                <a:gd name="T20" fmla="*/ 2147483647 w 94"/>
                <a:gd name="T21" fmla="*/ 2147483647 h 50"/>
                <a:gd name="T22" fmla="*/ 2147483647 w 94"/>
                <a:gd name="T23" fmla="*/ 2147483647 h 50"/>
                <a:gd name="T24" fmla="*/ 2147483647 w 94"/>
                <a:gd name="T25" fmla="*/ 2147483647 h 50"/>
                <a:gd name="T26" fmla="*/ 2147483647 w 94"/>
                <a:gd name="T27" fmla="*/ 2147483647 h 50"/>
                <a:gd name="T28" fmla="*/ 2147483647 w 94"/>
                <a:gd name="T29" fmla="*/ 2147483647 h 50"/>
                <a:gd name="T30" fmla="*/ 2147483647 w 94"/>
                <a:gd name="T31" fmla="*/ 2147483647 h 50"/>
                <a:gd name="T32" fmla="*/ 0 w 94"/>
                <a:gd name="T33" fmla="*/ 2147483647 h 50"/>
                <a:gd name="T34" fmla="*/ 2147483647 w 94"/>
                <a:gd name="T35" fmla="*/ 2147483647 h 50"/>
                <a:gd name="T36" fmla="*/ 2147483647 w 94"/>
                <a:gd name="T37" fmla="*/ 2147483647 h 50"/>
                <a:gd name="T38" fmla="*/ 2147483647 w 94"/>
                <a:gd name="T39" fmla="*/ 2147483647 h 50"/>
                <a:gd name="T40" fmla="*/ 2147483647 w 94"/>
                <a:gd name="T41" fmla="*/ 2147483647 h 50"/>
                <a:gd name="T42" fmla="*/ 2147483647 w 94"/>
                <a:gd name="T43" fmla="*/ 2147483647 h 50"/>
                <a:gd name="T44" fmla="*/ 2147483647 w 94"/>
                <a:gd name="T45" fmla="*/ 2147483647 h 50"/>
                <a:gd name="T46" fmla="*/ 2147483647 w 94"/>
                <a:gd name="T47" fmla="*/ 2147483647 h 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4"/>
                <a:gd name="T73" fmla="*/ 0 h 50"/>
                <a:gd name="T74" fmla="*/ 94 w 94"/>
                <a:gd name="T75" fmla="*/ 50 h 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4" h="50">
                  <a:moveTo>
                    <a:pt x="54" y="1"/>
                  </a:moveTo>
                  <a:cubicBezTo>
                    <a:pt x="52" y="1"/>
                    <a:pt x="51" y="1"/>
                    <a:pt x="49" y="1"/>
                  </a:cubicBezTo>
                  <a:cubicBezTo>
                    <a:pt x="49" y="1"/>
                    <a:pt x="48" y="1"/>
                    <a:pt x="48" y="1"/>
                  </a:cubicBezTo>
                  <a:cubicBezTo>
                    <a:pt x="47" y="2"/>
                    <a:pt x="46" y="2"/>
                    <a:pt x="44" y="2"/>
                  </a:cubicBezTo>
                  <a:cubicBezTo>
                    <a:pt x="44" y="2"/>
                    <a:pt x="44" y="2"/>
                    <a:pt x="43" y="3"/>
                  </a:cubicBezTo>
                  <a:cubicBezTo>
                    <a:pt x="42" y="3"/>
                    <a:pt x="41" y="3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7" y="5"/>
                    <a:pt x="36" y="6"/>
                    <a:pt x="35" y="6"/>
                  </a:cubicBezTo>
                  <a:cubicBezTo>
                    <a:pt x="35" y="6"/>
                    <a:pt x="35" y="7"/>
                    <a:pt x="34" y="7"/>
                  </a:cubicBezTo>
                  <a:cubicBezTo>
                    <a:pt x="33" y="7"/>
                    <a:pt x="32" y="8"/>
                    <a:pt x="31" y="9"/>
                  </a:cubicBezTo>
                  <a:cubicBezTo>
                    <a:pt x="31" y="9"/>
                    <a:pt x="31" y="9"/>
                    <a:pt x="30" y="10"/>
                  </a:cubicBezTo>
                  <a:cubicBezTo>
                    <a:pt x="27" y="13"/>
                    <a:pt x="24" y="16"/>
                    <a:pt x="21" y="2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2"/>
                    <a:pt x="20" y="22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7" y="27"/>
                    <a:pt x="3" y="32"/>
                    <a:pt x="0" y="35"/>
                  </a:cubicBezTo>
                  <a:cubicBezTo>
                    <a:pt x="2" y="32"/>
                    <a:pt x="6" y="33"/>
                    <a:pt x="10" y="34"/>
                  </a:cubicBezTo>
                  <a:cubicBezTo>
                    <a:pt x="12" y="34"/>
                    <a:pt x="14" y="35"/>
                    <a:pt x="16" y="36"/>
                  </a:cubicBezTo>
                  <a:cubicBezTo>
                    <a:pt x="18" y="36"/>
                    <a:pt x="19" y="37"/>
                    <a:pt x="20" y="37"/>
                  </a:cubicBezTo>
                  <a:cubicBezTo>
                    <a:pt x="27" y="41"/>
                    <a:pt x="34" y="50"/>
                    <a:pt x="40" y="48"/>
                  </a:cubicBezTo>
                  <a:cubicBezTo>
                    <a:pt x="40" y="48"/>
                    <a:pt x="51" y="40"/>
                    <a:pt x="57" y="40"/>
                  </a:cubicBezTo>
                  <a:cubicBezTo>
                    <a:pt x="84" y="41"/>
                    <a:pt x="94" y="34"/>
                    <a:pt x="94" y="34"/>
                  </a:cubicBezTo>
                  <a:cubicBezTo>
                    <a:pt x="92" y="14"/>
                    <a:pt x="74" y="0"/>
                    <a:pt x="54" y="1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</p:grpSp>
      <p:grpSp>
        <p:nvGrpSpPr>
          <p:cNvPr id="8" name="Group 214"/>
          <p:cNvGrpSpPr>
            <a:grpSpLocks/>
          </p:cNvGrpSpPr>
          <p:nvPr/>
        </p:nvGrpSpPr>
        <p:grpSpPr bwMode="auto">
          <a:xfrm>
            <a:off x="4067175" y="2908300"/>
            <a:ext cx="204788" cy="503238"/>
            <a:chOff x="543930" y="2907990"/>
            <a:chExt cx="204788" cy="503237"/>
          </a:xfrm>
        </p:grpSpPr>
        <p:sp>
          <p:nvSpPr>
            <p:cNvPr id="12366" name="Freeform 581"/>
            <p:cNvSpPr>
              <a:spLocks noChangeAspect="1"/>
            </p:cNvSpPr>
            <p:nvPr/>
          </p:nvSpPr>
          <p:spPr bwMode="gray">
            <a:xfrm flipH="1">
              <a:off x="604435" y="3151314"/>
              <a:ext cx="93861" cy="259913"/>
            </a:xfrm>
            <a:custGeom>
              <a:avLst/>
              <a:gdLst>
                <a:gd name="T0" fmla="*/ 2147483647 w 90"/>
                <a:gd name="T1" fmla="*/ 2147483647 h 245"/>
                <a:gd name="T2" fmla="*/ 2147483647 w 90"/>
                <a:gd name="T3" fmla="*/ 2147483647 h 245"/>
                <a:gd name="T4" fmla="*/ 2147483647 w 90"/>
                <a:gd name="T5" fmla="*/ 2147483647 h 245"/>
                <a:gd name="T6" fmla="*/ 2147483647 w 90"/>
                <a:gd name="T7" fmla="*/ 2147483647 h 245"/>
                <a:gd name="T8" fmla="*/ 2147483647 w 90"/>
                <a:gd name="T9" fmla="*/ 2147483647 h 245"/>
                <a:gd name="T10" fmla="*/ 2147483647 w 90"/>
                <a:gd name="T11" fmla="*/ 0 h 245"/>
                <a:gd name="T12" fmla="*/ 2147483647 w 90"/>
                <a:gd name="T13" fmla="*/ 2147483647 h 245"/>
                <a:gd name="T14" fmla="*/ 2147483647 w 90"/>
                <a:gd name="T15" fmla="*/ 2147483647 h 245"/>
                <a:gd name="T16" fmla="*/ 2147483647 w 90"/>
                <a:gd name="T17" fmla="*/ 2147483647 h 245"/>
                <a:gd name="T18" fmla="*/ 2147483647 w 90"/>
                <a:gd name="T19" fmla="*/ 2147483647 h 245"/>
                <a:gd name="T20" fmla="*/ 2147483647 w 90"/>
                <a:gd name="T21" fmla="*/ 2147483647 h 245"/>
                <a:gd name="T22" fmla="*/ 2147483647 w 90"/>
                <a:gd name="T23" fmla="*/ 2147483647 h 245"/>
                <a:gd name="T24" fmla="*/ 2147483647 w 90"/>
                <a:gd name="T25" fmla="*/ 2147483647 h 245"/>
                <a:gd name="T26" fmla="*/ 2147483647 w 90"/>
                <a:gd name="T27" fmla="*/ 2147483647 h 245"/>
                <a:gd name="T28" fmla="*/ 2147483647 w 90"/>
                <a:gd name="T29" fmla="*/ 2147483647 h 245"/>
                <a:gd name="T30" fmla="*/ 2147483647 w 90"/>
                <a:gd name="T31" fmla="*/ 2147483647 h 2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0"/>
                <a:gd name="T49" fmla="*/ 0 h 245"/>
                <a:gd name="T50" fmla="*/ 90 w 90"/>
                <a:gd name="T51" fmla="*/ 245 h 24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0" h="245">
                  <a:moveTo>
                    <a:pt x="89" y="156"/>
                  </a:moveTo>
                  <a:cubicBezTo>
                    <a:pt x="89" y="140"/>
                    <a:pt x="90" y="47"/>
                    <a:pt x="90" y="7"/>
                  </a:cubicBezTo>
                  <a:cubicBezTo>
                    <a:pt x="89" y="6"/>
                    <a:pt x="89" y="6"/>
                    <a:pt x="89" y="5"/>
                  </a:cubicBezTo>
                  <a:cubicBezTo>
                    <a:pt x="87" y="16"/>
                    <a:pt x="71" y="22"/>
                    <a:pt x="63" y="20"/>
                  </a:cubicBezTo>
                  <a:cubicBezTo>
                    <a:pt x="55" y="19"/>
                    <a:pt x="24" y="13"/>
                    <a:pt x="12" y="10"/>
                  </a:cubicBezTo>
                  <a:cubicBezTo>
                    <a:pt x="6" y="9"/>
                    <a:pt x="4" y="4"/>
                    <a:pt x="3" y="0"/>
                  </a:cubicBezTo>
                  <a:cubicBezTo>
                    <a:pt x="2" y="18"/>
                    <a:pt x="3" y="32"/>
                    <a:pt x="3" y="36"/>
                  </a:cubicBezTo>
                  <a:cubicBezTo>
                    <a:pt x="3" y="49"/>
                    <a:pt x="0" y="181"/>
                    <a:pt x="2" y="205"/>
                  </a:cubicBezTo>
                  <a:cubicBezTo>
                    <a:pt x="3" y="228"/>
                    <a:pt x="43" y="224"/>
                    <a:pt x="44" y="204"/>
                  </a:cubicBezTo>
                  <a:cubicBezTo>
                    <a:pt x="43" y="170"/>
                    <a:pt x="46" y="55"/>
                    <a:pt x="45" y="51"/>
                  </a:cubicBezTo>
                  <a:cubicBezTo>
                    <a:pt x="45" y="47"/>
                    <a:pt x="36" y="46"/>
                    <a:pt x="36" y="39"/>
                  </a:cubicBezTo>
                  <a:cubicBezTo>
                    <a:pt x="36" y="46"/>
                    <a:pt x="45" y="47"/>
                    <a:pt x="45" y="51"/>
                  </a:cubicBezTo>
                  <a:cubicBezTo>
                    <a:pt x="46" y="55"/>
                    <a:pt x="43" y="170"/>
                    <a:pt x="44" y="204"/>
                  </a:cubicBezTo>
                  <a:cubicBezTo>
                    <a:pt x="44" y="206"/>
                    <a:pt x="44" y="211"/>
                    <a:pt x="44" y="211"/>
                  </a:cubicBezTo>
                  <a:cubicBezTo>
                    <a:pt x="46" y="245"/>
                    <a:pt x="87" y="235"/>
                    <a:pt x="88" y="218"/>
                  </a:cubicBezTo>
                  <a:cubicBezTo>
                    <a:pt x="90" y="201"/>
                    <a:pt x="88" y="171"/>
                    <a:pt x="89" y="15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7" name="Freeform 582"/>
            <p:cNvSpPr>
              <a:spLocks noChangeAspect="1"/>
            </p:cNvSpPr>
            <p:nvPr/>
          </p:nvSpPr>
          <p:spPr bwMode="gray">
            <a:xfrm flipH="1">
              <a:off x="543930" y="2976253"/>
              <a:ext cx="204788" cy="244475"/>
            </a:xfrm>
            <a:custGeom>
              <a:avLst/>
              <a:gdLst/>
              <a:ahLst/>
              <a:cxnLst>
                <a:cxn ang="0">
                  <a:pos x="192" y="194"/>
                </a:cxn>
                <a:cxn ang="0">
                  <a:pos x="169" y="49"/>
                </a:cxn>
                <a:cxn ang="0">
                  <a:pos x="143" y="24"/>
                </a:cxn>
                <a:cxn ang="0">
                  <a:pos x="100" y="12"/>
                </a:cxn>
                <a:cxn ang="0">
                  <a:pos x="60" y="2"/>
                </a:cxn>
                <a:cxn ang="0">
                  <a:pos x="30" y="11"/>
                </a:cxn>
                <a:cxn ang="0">
                  <a:pos x="4" y="159"/>
                </a:cxn>
                <a:cxn ang="0">
                  <a:pos x="36" y="168"/>
                </a:cxn>
                <a:cxn ang="0">
                  <a:pos x="54" y="47"/>
                </a:cxn>
                <a:cxn ang="0">
                  <a:pos x="53" y="164"/>
                </a:cxn>
                <a:cxn ang="0">
                  <a:pos x="62" y="174"/>
                </a:cxn>
                <a:cxn ang="0">
                  <a:pos x="113" y="188"/>
                </a:cxn>
                <a:cxn ang="0">
                  <a:pos x="140" y="169"/>
                </a:cxn>
                <a:cxn ang="0">
                  <a:pos x="140" y="169"/>
                </a:cxn>
                <a:cxn ang="0">
                  <a:pos x="138" y="87"/>
                </a:cxn>
                <a:cxn ang="0">
                  <a:pos x="136" y="70"/>
                </a:cxn>
                <a:cxn ang="0">
                  <a:pos x="136" y="69"/>
                </a:cxn>
                <a:cxn ang="0">
                  <a:pos x="136" y="70"/>
                </a:cxn>
                <a:cxn ang="0">
                  <a:pos x="138" y="87"/>
                </a:cxn>
                <a:cxn ang="0">
                  <a:pos x="159" y="203"/>
                </a:cxn>
                <a:cxn ang="0">
                  <a:pos x="192" y="194"/>
                </a:cxn>
              </a:cxnLst>
              <a:rect l="0" t="0" r="r" b="b"/>
              <a:pathLst>
                <a:path w="198" h="231">
                  <a:moveTo>
                    <a:pt x="192" y="194"/>
                  </a:moveTo>
                  <a:cubicBezTo>
                    <a:pt x="189" y="184"/>
                    <a:pt x="172" y="67"/>
                    <a:pt x="169" y="49"/>
                  </a:cubicBezTo>
                  <a:cubicBezTo>
                    <a:pt x="166" y="32"/>
                    <a:pt x="151" y="26"/>
                    <a:pt x="143" y="24"/>
                  </a:cubicBezTo>
                  <a:cubicBezTo>
                    <a:pt x="135" y="21"/>
                    <a:pt x="113" y="16"/>
                    <a:pt x="100" y="12"/>
                  </a:cubicBezTo>
                  <a:cubicBezTo>
                    <a:pt x="88" y="9"/>
                    <a:pt x="69" y="3"/>
                    <a:pt x="60" y="2"/>
                  </a:cubicBezTo>
                  <a:cubicBezTo>
                    <a:pt x="51" y="0"/>
                    <a:pt x="33" y="3"/>
                    <a:pt x="30" y="11"/>
                  </a:cubicBezTo>
                  <a:cubicBezTo>
                    <a:pt x="28" y="17"/>
                    <a:pt x="8" y="139"/>
                    <a:pt x="4" y="159"/>
                  </a:cubicBezTo>
                  <a:cubicBezTo>
                    <a:pt x="0" y="180"/>
                    <a:pt x="31" y="184"/>
                    <a:pt x="36" y="168"/>
                  </a:cubicBezTo>
                  <a:cubicBezTo>
                    <a:pt x="40" y="157"/>
                    <a:pt x="55" y="38"/>
                    <a:pt x="54" y="47"/>
                  </a:cubicBezTo>
                  <a:cubicBezTo>
                    <a:pt x="54" y="53"/>
                    <a:pt x="53" y="121"/>
                    <a:pt x="53" y="164"/>
                  </a:cubicBezTo>
                  <a:cubicBezTo>
                    <a:pt x="54" y="169"/>
                    <a:pt x="56" y="173"/>
                    <a:pt x="62" y="174"/>
                  </a:cubicBezTo>
                  <a:cubicBezTo>
                    <a:pt x="74" y="177"/>
                    <a:pt x="106" y="187"/>
                    <a:pt x="113" y="188"/>
                  </a:cubicBezTo>
                  <a:cubicBezTo>
                    <a:pt x="121" y="190"/>
                    <a:pt x="137" y="180"/>
                    <a:pt x="140" y="169"/>
                  </a:cubicBezTo>
                  <a:cubicBezTo>
                    <a:pt x="140" y="169"/>
                    <a:pt x="140" y="169"/>
                    <a:pt x="140" y="169"/>
                  </a:cubicBezTo>
                  <a:cubicBezTo>
                    <a:pt x="140" y="141"/>
                    <a:pt x="140" y="110"/>
                    <a:pt x="138" y="87"/>
                  </a:cubicBezTo>
                  <a:cubicBezTo>
                    <a:pt x="137" y="78"/>
                    <a:pt x="137" y="73"/>
                    <a:pt x="136" y="70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69"/>
                    <a:pt x="136" y="69"/>
                    <a:pt x="136" y="70"/>
                  </a:cubicBezTo>
                  <a:cubicBezTo>
                    <a:pt x="137" y="75"/>
                    <a:pt x="138" y="81"/>
                    <a:pt x="138" y="87"/>
                  </a:cubicBezTo>
                  <a:cubicBezTo>
                    <a:pt x="141" y="109"/>
                    <a:pt x="148" y="149"/>
                    <a:pt x="159" y="203"/>
                  </a:cubicBezTo>
                  <a:cubicBezTo>
                    <a:pt x="165" y="231"/>
                    <a:pt x="198" y="218"/>
                    <a:pt x="192" y="194"/>
                  </a:cubicBezTo>
                </a:path>
              </a:pathLst>
            </a:custGeom>
            <a:gradFill rotWithShape="1">
              <a:gsLst>
                <a:gs pos="0">
                  <a:schemeClr val="bg1"/>
                </a:gs>
                <a:gs pos="50000">
                  <a:schemeClr val="bg1">
                    <a:gamma/>
                    <a:shade val="85882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893014">
                <a:defRPr/>
              </a:pPr>
              <a:endParaRPr lang="en-CA" sz="17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68" name="Freeform 583"/>
            <p:cNvSpPr>
              <a:spLocks noChangeAspect="1"/>
            </p:cNvSpPr>
            <p:nvPr/>
          </p:nvSpPr>
          <p:spPr bwMode="gray">
            <a:xfrm flipH="1">
              <a:off x="604435" y="2982251"/>
              <a:ext cx="91534" cy="199083"/>
            </a:xfrm>
            <a:custGeom>
              <a:avLst/>
              <a:gdLst>
                <a:gd name="T0" fmla="*/ 2147483647 w 87"/>
                <a:gd name="T1" fmla="*/ 2147483647 h 185"/>
                <a:gd name="T2" fmla="*/ 2147483647 w 87"/>
                <a:gd name="T3" fmla="*/ 2147483647 h 185"/>
                <a:gd name="T4" fmla="*/ 2147483647 w 87"/>
                <a:gd name="T5" fmla="*/ 2147483647 h 185"/>
                <a:gd name="T6" fmla="*/ 2147483647 w 87"/>
                <a:gd name="T7" fmla="*/ 2147483647 h 185"/>
                <a:gd name="T8" fmla="*/ 2147483647 w 87"/>
                <a:gd name="T9" fmla="*/ 2147483647 h 185"/>
                <a:gd name="T10" fmla="*/ 2147483647 w 87"/>
                <a:gd name="T11" fmla="*/ 2147483647 h 185"/>
                <a:gd name="T12" fmla="*/ 2147483647 w 87"/>
                <a:gd name="T13" fmla="*/ 2147483647 h 185"/>
                <a:gd name="T14" fmla="*/ 2147483647 w 87"/>
                <a:gd name="T15" fmla="*/ 2147483647 h 185"/>
                <a:gd name="T16" fmla="*/ 2147483647 w 87"/>
                <a:gd name="T17" fmla="*/ 2147483647 h 185"/>
                <a:gd name="T18" fmla="*/ 2147483647 w 87"/>
                <a:gd name="T19" fmla="*/ 2147483647 h 185"/>
                <a:gd name="T20" fmla="*/ 2147483647 w 87"/>
                <a:gd name="T21" fmla="*/ 2147483647 h 185"/>
                <a:gd name="T22" fmla="*/ 2147483647 w 87"/>
                <a:gd name="T23" fmla="*/ 0 h 185"/>
                <a:gd name="T24" fmla="*/ 2147483647 w 87"/>
                <a:gd name="T25" fmla="*/ 2147483647 h 185"/>
                <a:gd name="T26" fmla="*/ 2147483647 w 87"/>
                <a:gd name="T27" fmla="*/ 2147483647 h 185"/>
                <a:gd name="T28" fmla="*/ 2147483647 w 87"/>
                <a:gd name="T29" fmla="*/ 2147483647 h 185"/>
                <a:gd name="T30" fmla="*/ 0 w 87"/>
                <a:gd name="T31" fmla="*/ 2147483647 h 185"/>
                <a:gd name="T32" fmla="*/ 2147483647 w 87"/>
                <a:gd name="T33" fmla="*/ 2147483647 h 185"/>
                <a:gd name="T34" fmla="*/ 2147483647 w 87"/>
                <a:gd name="T35" fmla="*/ 2147483647 h 185"/>
                <a:gd name="T36" fmla="*/ 2147483647 w 87"/>
                <a:gd name="T37" fmla="*/ 2147483647 h 185"/>
                <a:gd name="T38" fmla="*/ 2147483647 w 87"/>
                <a:gd name="T39" fmla="*/ 2147483647 h 1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85"/>
                <a:gd name="T62" fmla="*/ 87 w 87"/>
                <a:gd name="T63" fmla="*/ 185 h 18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85">
                  <a:moveTo>
                    <a:pt x="87" y="103"/>
                  </a:moveTo>
                  <a:cubicBezTo>
                    <a:pt x="84" y="113"/>
                    <a:pt x="72" y="121"/>
                    <a:pt x="63" y="122"/>
                  </a:cubicBezTo>
                  <a:cubicBezTo>
                    <a:pt x="63" y="122"/>
                    <a:pt x="63" y="122"/>
                    <a:pt x="63" y="122"/>
                  </a:cubicBezTo>
                  <a:cubicBezTo>
                    <a:pt x="63" y="122"/>
                    <a:pt x="63" y="51"/>
                    <a:pt x="63" y="41"/>
                  </a:cubicBezTo>
                  <a:cubicBezTo>
                    <a:pt x="63" y="30"/>
                    <a:pt x="71" y="15"/>
                    <a:pt x="76" y="15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58" y="12"/>
                    <a:pt x="50" y="26"/>
                    <a:pt x="49" y="37"/>
                  </a:cubicBezTo>
                  <a:cubicBezTo>
                    <a:pt x="48" y="49"/>
                    <a:pt x="49" y="118"/>
                    <a:pt x="49" y="118"/>
                  </a:cubicBezTo>
                  <a:cubicBezTo>
                    <a:pt x="40" y="116"/>
                    <a:pt x="28" y="112"/>
                    <a:pt x="19" y="110"/>
                  </a:cubicBezTo>
                  <a:cubicBezTo>
                    <a:pt x="18" y="108"/>
                    <a:pt x="18" y="39"/>
                    <a:pt x="18" y="29"/>
                  </a:cubicBezTo>
                  <a:cubicBezTo>
                    <a:pt x="18" y="18"/>
                    <a:pt x="27" y="3"/>
                    <a:pt x="31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7" y="15"/>
                    <a:pt x="6" y="26"/>
                  </a:cubicBezTo>
                  <a:cubicBezTo>
                    <a:pt x="5" y="37"/>
                    <a:pt x="6" y="100"/>
                    <a:pt x="6" y="107"/>
                  </a:cubicBezTo>
                  <a:cubicBezTo>
                    <a:pt x="3" y="105"/>
                    <a:pt x="2" y="102"/>
                    <a:pt x="1" y="99"/>
                  </a:cubicBezTo>
                  <a:cubicBezTo>
                    <a:pt x="0" y="119"/>
                    <a:pt x="0" y="141"/>
                    <a:pt x="0" y="159"/>
                  </a:cubicBezTo>
                  <a:cubicBezTo>
                    <a:pt x="1" y="164"/>
                    <a:pt x="4" y="169"/>
                    <a:pt x="10" y="170"/>
                  </a:cubicBezTo>
                  <a:cubicBezTo>
                    <a:pt x="22" y="172"/>
                    <a:pt x="53" y="182"/>
                    <a:pt x="61" y="184"/>
                  </a:cubicBezTo>
                  <a:cubicBezTo>
                    <a:pt x="69" y="185"/>
                    <a:pt x="85" y="176"/>
                    <a:pt x="87" y="164"/>
                  </a:cubicBezTo>
                  <a:cubicBezTo>
                    <a:pt x="87" y="144"/>
                    <a:pt x="87" y="123"/>
                    <a:pt x="87" y="103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69" name="Freeform 584"/>
            <p:cNvSpPr>
              <a:spLocks noChangeAspect="1"/>
            </p:cNvSpPr>
            <p:nvPr/>
          </p:nvSpPr>
          <p:spPr bwMode="gray">
            <a:xfrm flipH="1">
              <a:off x="615295" y="2964081"/>
              <a:ext cx="68263" cy="43450"/>
            </a:xfrm>
            <a:custGeom>
              <a:avLst/>
              <a:gdLst>
                <a:gd name="T0" fmla="*/ 2147483647 w 66"/>
                <a:gd name="T1" fmla="*/ 2147483647 h 41"/>
                <a:gd name="T2" fmla="*/ 2147483647 w 66"/>
                <a:gd name="T3" fmla="*/ 2147483647 h 41"/>
                <a:gd name="T4" fmla="*/ 2147483647 w 66"/>
                <a:gd name="T5" fmla="*/ 2147483647 h 41"/>
                <a:gd name="T6" fmla="*/ 2147483647 w 66"/>
                <a:gd name="T7" fmla="*/ 2147483647 h 41"/>
                <a:gd name="T8" fmla="*/ 2147483647 w 66"/>
                <a:gd name="T9" fmla="*/ 2147483647 h 41"/>
                <a:gd name="T10" fmla="*/ 2147483647 w 66"/>
                <a:gd name="T11" fmla="*/ 2147483647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6"/>
                <a:gd name="T19" fmla="*/ 0 h 41"/>
                <a:gd name="T20" fmla="*/ 66 w 66"/>
                <a:gd name="T21" fmla="*/ 41 h 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6" h="41">
                  <a:moveTo>
                    <a:pt x="29" y="39"/>
                  </a:moveTo>
                  <a:cubicBezTo>
                    <a:pt x="14" y="37"/>
                    <a:pt x="0" y="25"/>
                    <a:pt x="9" y="23"/>
                  </a:cubicBezTo>
                  <a:cubicBezTo>
                    <a:pt x="16" y="21"/>
                    <a:pt x="13" y="16"/>
                    <a:pt x="15" y="13"/>
                  </a:cubicBezTo>
                  <a:cubicBezTo>
                    <a:pt x="18" y="10"/>
                    <a:pt x="53" y="0"/>
                    <a:pt x="53" y="16"/>
                  </a:cubicBezTo>
                  <a:cubicBezTo>
                    <a:pt x="53" y="21"/>
                    <a:pt x="47" y="25"/>
                    <a:pt x="57" y="30"/>
                  </a:cubicBezTo>
                  <a:cubicBezTo>
                    <a:pt x="66" y="33"/>
                    <a:pt x="46" y="41"/>
                    <a:pt x="29" y="39"/>
                  </a:cubicBezTo>
                  <a:close/>
                </a:path>
              </a:pathLst>
            </a:custGeom>
            <a:solidFill>
              <a:srgbClr val="FFFFFF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70" name="Oval 585"/>
            <p:cNvSpPr>
              <a:spLocks noChangeAspect="1" noChangeArrowheads="1"/>
            </p:cNvSpPr>
            <p:nvPr/>
          </p:nvSpPr>
          <p:spPr bwMode="gray">
            <a:xfrm>
              <a:off x="610641" y="2909570"/>
              <a:ext cx="82225" cy="82951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92175">
                <a:spcBef>
                  <a:spcPct val="0"/>
                </a:spcBef>
              </a:pPr>
              <a:endParaRPr lang="en-CA" sz="170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2371" name="Freeform 586"/>
            <p:cNvSpPr>
              <a:spLocks noChangeAspect="1"/>
            </p:cNvSpPr>
            <p:nvPr/>
          </p:nvSpPr>
          <p:spPr bwMode="gray">
            <a:xfrm flipH="1">
              <a:off x="610641" y="2907990"/>
              <a:ext cx="99291" cy="53721"/>
            </a:xfrm>
            <a:custGeom>
              <a:avLst/>
              <a:gdLst>
                <a:gd name="T0" fmla="*/ 2147483647 w 94"/>
                <a:gd name="T1" fmla="*/ 2147483647 h 50"/>
                <a:gd name="T2" fmla="*/ 2147483647 w 94"/>
                <a:gd name="T3" fmla="*/ 2147483647 h 50"/>
                <a:gd name="T4" fmla="*/ 2147483647 w 94"/>
                <a:gd name="T5" fmla="*/ 2147483647 h 50"/>
                <a:gd name="T6" fmla="*/ 2147483647 w 94"/>
                <a:gd name="T7" fmla="*/ 2147483647 h 50"/>
                <a:gd name="T8" fmla="*/ 2147483647 w 94"/>
                <a:gd name="T9" fmla="*/ 2147483647 h 50"/>
                <a:gd name="T10" fmla="*/ 2147483647 w 94"/>
                <a:gd name="T11" fmla="*/ 2147483647 h 50"/>
                <a:gd name="T12" fmla="*/ 2147483647 w 94"/>
                <a:gd name="T13" fmla="*/ 2147483647 h 50"/>
                <a:gd name="T14" fmla="*/ 2147483647 w 94"/>
                <a:gd name="T15" fmla="*/ 2147483647 h 50"/>
                <a:gd name="T16" fmla="*/ 2147483647 w 94"/>
                <a:gd name="T17" fmla="*/ 2147483647 h 50"/>
                <a:gd name="T18" fmla="*/ 2147483647 w 94"/>
                <a:gd name="T19" fmla="*/ 2147483647 h 50"/>
                <a:gd name="T20" fmla="*/ 2147483647 w 94"/>
                <a:gd name="T21" fmla="*/ 2147483647 h 50"/>
                <a:gd name="T22" fmla="*/ 2147483647 w 94"/>
                <a:gd name="T23" fmla="*/ 2147483647 h 50"/>
                <a:gd name="T24" fmla="*/ 2147483647 w 94"/>
                <a:gd name="T25" fmla="*/ 2147483647 h 50"/>
                <a:gd name="T26" fmla="*/ 2147483647 w 94"/>
                <a:gd name="T27" fmla="*/ 2147483647 h 50"/>
                <a:gd name="T28" fmla="*/ 2147483647 w 94"/>
                <a:gd name="T29" fmla="*/ 2147483647 h 50"/>
                <a:gd name="T30" fmla="*/ 2147483647 w 94"/>
                <a:gd name="T31" fmla="*/ 2147483647 h 50"/>
                <a:gd name="T32" fmla="*/ 0 w 94"/>
                <a:gd name="T33" fmla="*/ 2147483647 h 50"/>
                <a:gd name="T34" fmla="*/ 2147483647 w 94"/>
                <a:gd name="T35" fmla="*/ 2147483647 h 50"/>
                <a:gd name="T36" fmla="*/ 2147483647 w 94"/>
                <a:gd name="T37" fmla="*/ 2147483647 h 50"/>
                <a:gd name="T38" fmla="*/ 2147483647 w 94"/>
                <a:gd name="T39" fmla="*/ 2147483647 h 50"/>
                <a:gd name="T40" fmla="*/ 2147483647 w 94"/>
                <a:gd name="T41" fmla="*/ 2147483647 h 50"/>
                <a:gd name="T42" fmla="*/ 2147483647 w 94"/>
                <a:gd name="T43" fmla="*/ 2147483647 h 50"/>
                <a:gd name="T44" fmla="*/ 2147483647 w 94"/>
                <a:gd name="T45" fmla="*/ 2147483647 h 50"/>
                <a:gd name="T46" fmla="*/ 2147483647 w 94"/>
                <a:gd name="T47" fmla="*/ 2147483647 h 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4"/>
                <a:gd name="T73" fmla="*/ 0 h 50"/>
                <a:gd name="T74" fmla="*/ 94 w 94"/>
                <a:gd name="T75" fmla="*/ 50 h 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4" h="50">
                  <a:moveTo>
                    <a:pt x="54" y="1"/>
                  </a:moveTo>
                  <a:cubicBezTo>
                    <a:pt x="52" y="1"/>
                    <a:pt x="51" y="1"/>
                    <a:pt x="49" y="1"/>
                  </a:cubicBezTo>
                  <a:cubicBezTo>
                    <a:pt x="49" y="1"/>
                    <a:pt x="48" y="1"/>
                    <a:pt x="48" y="1"/>
                  </a:cubicBezTo>
                  <a:cubicBezTo>
                    <a:pt x="47" y="2"/>
                    <a:pt x="46" y="2"/>
                    <a:pt x="44" y="2"/>
                  </a:cubicBezTo>
                  <a:cubicBezTo>
                    <a:pt x="44" y="2"/>
                    <a:pt x="44" y="2"/>
                    <a:pt x="43" y="3"/>
                  </a:cubicBezTo>
                  <a:cubicBezTo>
                    <a:pt x="42" y="3"/>
                    <a:pt x="41" y="3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7" y="5"/>
                    <a:pt x="36" y="6"/>
                    <a:pt x="35" y="6"/>
                  </a:cubicBezTo>
                  <a:cubicBezTo>
                    <a:pt x="35" y="6"/>
                    <a:pt x="35" y="7"/>
                    <a:pt x="34" y="7"/>
                  </a:cubicBezTo>
                  <a:cubicBezTo>
                    <a:pt x="33" y="7"/>
                    <a:pt x="32" y="8"/>
                    <a:pt x="31" y="9"/>
                  </a:cubicBezTo>
                  <a:cubicBezTo>
                    <a:pt x="31" y="9"/>
                    <a:pt x="31" y="9"/>
                    <a:pt x="30" y="10"/>
                  </a:cubicBezTo>
                  <a:cubicBezTo>
                    <a:pt x="27" y="13"/>
                    <a:pt x="24" y="16"/>
                    <a:pt x="21" y="2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2"/>
                    <a:pt x="20" y="22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7" y="27"/>
                    <a:pt x="3" y="32"/>
                    <a:pt x="0" y="35"/>
                  </a:cubicBezTo>
                  <a:cubicBezTo>
                    <a:pt x="2" y="32"/>
                    <a:pt x="6" y="33"/>
                    <a:pt x="10" y="34"/>
                  </a:cubicBezTo>
                  <a:cubicBezTo>
                    <a:pt x="12" y="34"/>
                    <a:pt x="14" y="35"/>
                    <a:pt x="16" y="36"/>
                  </a:cubicBezTo>
                  <a:cubicBezTo>
                    <a:pt x="18" y="36"/>
                    <a:pt x="19" y="37"/>
                    <a:pt x="20" y="37"/>
                  </a:cubicBezTo>
                  <a:cubicBezTo>
                    <a:pt x="27" y="41"/>
                    <a:pt x="34" y="50"/>
                    <a:pt x="40" y="48"/>
                  </a:cubicBezTo>
                  <a:cubicBezTo>
                    <a:pt x="40" y="48"/>
                    <a:pt x="51" y="40"/>
                    <a:pt x="57" y="40"/>
                  </a:cubicBezTo>
                  <a:cubicBezTo>
                    <a:pt x="84" y="41"/>
                    <a:pt x="94" y="34"/>
                    <a:pt x="94" y="34"/>
                  </a:cubicBezTo>
                  <a:cubicBezTo>
                    <a:pt x="92" y="14"/>
                    <a:pt x="74" y="0"/>
                    <a:pt x="54" y="1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14"/>
          <p:cNvGrpSpPr>
            <a:grpSpLocks/>
          </p:cNvGrpSpPr>
          <p:nvPr/>
        </p:nvGrpSpPr>
        <p:grpSpPr bwMode="auto">
          <a:xfrm>
            <a:off x="2916238" y="2908300"/>
            <a:ext cx="204787" cy="503238"/>
            <a:chOff x="543930" y="2907990"/>
            <a:chExt cx="204788" cy="503237"/>
          </a:xfrm>
        </p:grpSpPr>
        <p:sp>
          <p:nvSpPr>
            <p:cNvPr id="12360" name="Freeform 581"/>
            <p:cNvSpPr>
              <a:spLocks noChangeAspect="1"/>
            </p:cNvSpPr>
            <p:nvPr/>
          </p:nvSpPr>
          <p:spPr bwMode="gray">
            <a:xfrm flipH="1">
              <a:off x="604435" y="3151314"/>
              <a:ext cx="93861" cy="259913"/>
            </a:xfrm>
            <a:custGeom>
              <a:avLst/>
              <a:gdLst>
                <a:gd name="T0" fmla="*/ 2147483647 w 90"/>
                <a:gd name="T1" fmla="*/ 2147483647 h 245"/>
                <a:gd name="T2" fmla="*/ 2147483647 w 90"/>
                <a:gd name="T3" fmla="*/ 2147483647 h 245"/>
                <a:gd name="T4" fmla="*/ 2147483647 w 90"/>
                <a:gd name="T5" fmla="*/ 2147483647 h 245"/>
                <a:gd name="T6" fmla="*/ 2147483647 w 90"/>
                <a:gd name="T7" fmla="*/ 2147483647 h 245"/>
                <a:gd name="T8" fmla="*/ 2147483647 w 90"/>
                <a:gd name="T9" fmla="*/ 2147483647 h 245"/>
                <a:gd name="T10" fmla="*/ 2147483647 w 90"/>
                <a:gd name="T11" fmla="*/ 0 h 245"/>
                <a:gd name="T12" fmla="*/ 2147483647 w 90"/>
                <a:gd name="T13" fmla="*/ 2147483647 h 245"/>
                <a:gd name="T14" fmla="*/ 2147483647 w 90"/>
                <a:gd name="T15" fmla="*/ 2147483647 h 245"/>
                <a:gd name="T16" fmla="*/ 2147483647 w 90"/>
                <a:gd name="T17" fmla="*/ 2147483647 h 245"/>
                <a:gd name="T18" fmla="*/ 2147483647 w 90"/>
                <a:gd name="T19" fmla="*/ 2147483647 h 245"/>
                <a:gd name="T20" fmla="*/ 2147483647 w 90"/>
                <a:gd name="T21" fmla="*/ 2147483647 h 245"/>
                <a:gd name="T22" fmla="*/ 2147483647 w 90"/>
                <a:gd name="T23" fmla="*/ 2147483647 h 245"/>
                <a:gd name="T24" fmla="*/ 2147483647 w 90"/>
                <a:gd name="T25" fmla="*/ 2147483647 h 245"/>
                <a:gd name="T26" fmla="*/ 2147483647 w 90"/>
                <a:gd name="T27" fmla="*/ 2147483647 h 245"/>
                <a:gd name="T28" fmla="*/ 2147483647 w 90"/>
                <a:gd name="T29" fmla="*/ 2147483647 h 245"/>
                <a:gd name="T30" fmla="*/ 2147483647 w 90"/>
                <a:gd name="T31" fmla="*/ 2147483647 h 2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0"/>
                <a:gd name="T49" fmla="*/ 0 h 245"/>
                <a:gd name="T50" fmla="*/ 90 w 90"/>
                <a:gd name="T51" fmla="*/ 245 h 24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0" h="245">
                  <a:moveTo>
                    <a:pt x="89" y="156"/>
                  </a:moveTo>
                  <a:cubicBezTo>
                    <a:pt x="89" y="140"/>
                    <a:pt x="90" y="47"/>
                    <a:pt x="90" y="7"/>
                  </a:cubicBezTo>
                  <a:cubicBezTo>
                    <a:pt x="89" y="6"/>
                    <a:pt x="89" y="6"/>
                    <a:pt x="89" y="5"/>
                  </a:cubicBezTo>
                  <a:cubicBezTo>
                    <a:pt x="87" y="16"/>
                    <a:pt x="71" y="22"/>
                    <a:pt x="63" y="20"/>
                  </a:cubicBezTo>
                  <a:cubicBezTo>
                    <a:pt x="55" y="19"/>
                    <a:pt x="24" y="13"/>
                    <a:pt x="12" y="10"/>
                  </a:cubicBezTo>
                  <a:cubicBezTo>
                    <a:pt x="6" y="9"/>
                    <a:pt x="4" y="4"/>
                    <a:pt x="3" y="0"/>
                  </a:cubicBezTo>
                  <a:cubicBezTo>
                    <a:pt x="2" y="18"/>
                    <a:pt x="3" y="32"/>
                    <a:pt x="3" y="36"/>
                  </a:cubicBezTo>
                  <a:cubicBezTo>
                    <a:pt x="3" y="49"/>
                    <a:pt x="0" y="181"/>
                    <a:pt x="2" y="205"/>
                  </a:cubicBezTo>
                  <a:cubicBezTo>
                    <a:pt x="3" y="228"/>
                    <a:pt x="43" y="224"/>
                    <a:pt x="44" y="204"/>
                  </a:cubicBezTo>
                  <a:cubicBezTo>
                    <a:pt x="43" y="170"/>
                    <a:pt x="46" y="55"/>
                    <a:pt x="45" y="51"/>
                  </a:cubicBezTo>
                  <a:cubicBezTo>
                    <a:pt x="45" y="47"/>
                    <a:pt x="36" y="46"/>
                    <a:pt x="36" y="39"/>
                  </a:cubicBezTo>
                  <a:cubicBezTo>
                    <a:pt x="36" y="46"/>
                    <a:pt x="45" y="47"/>
                    <a:pt x="45" y="51"/>
                  </a:cubicBezTo>
                  <a:cubicBezTo>
                    <a:pt x="46" y="55"/>
                    <a:pt x="43" y="170"/>
                    <a:pt x="44" y="204"/>
                  </a:cubicBezTo>
                  <a:cubicBezTo>
                    <a:pt x="44" y="206"/>
                    <a:pt x="44" y="211"/>
                    <a:pt x="44" y="211"/>
                  </a:cubicBezTo>
                  <a:cubicBezTo>
                    <a:pt x="46" y="245"/>
                    <a:pt x="87" y="235"/>
                    <a:pt x="88" y="218"/>
                  </a:cubicBezTo>
                  <a:cubicBezTo>
                    <a:pt x="90" y="201"/>
                    <a:pt x="88" y="171"/>
                    <a:pt x="89" y="15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35" name="Freeform 582"/>
            <p:cNvSpPr>
              <a:spLocks noChangeAspect="1"/>
            </p:cNvSpPr>
            <p:nvPr/>
          </p:nvSpPr>
          <p:spPr bwMode="gray">
            <a:xfrm flipH="1">
              <a:off x="543930" y="2976253"/>
              <a:ext cx="204788" cy="244475"/>
            </a:xfrm>
            <a:custGeom>
              <a:avLst/>
              <a:gdLst/>
              <a:ahLst/>
              <a:cxnLst>
                <a:cxn ang="0">
                  <a:pos x="192" y="194"/>
                </a:cxn>
                <a:cxn ang="0">
                  <a:pos x="169" y="49"/>
                </a:cxn>
                <a:cxn ang="0">
                  <a:pos x="143" y="24"/>
                </a:cxn>
                <a:cxn ang="0">
                  <a:pos x="100" y="12"/>
                </a:cxn>
                <a:cxn ang="0">
                  <a:pos x="60" y="2"/>
                </a:cxn>
                <a:cxn ang="0">
                  <a:pos x="30" y="11"/>
                </a:cxn>
                <a:cxn ang="0">
                  <a:pos x="4" y="159"/>
                </a:cxn>
                <a:cxn ang="0">
                  <a:pos x="36" y="168"/>
                </a:cxn>
                <a:cxn ang="0">
                  <a:pos x="54" y="47"/>
                </a:cxn>
                <a:cxn ang="0">
                  <a:pos x="53" y="164"/>
                </a:cxn>
                <a:cxn ang="0">
                  <a:pos x="62" y="174"/>
                </a:cxn>
                <a:cxn ang="0">
                  <a:pos x="113" y="188"/>
                </a:cxn>
                <a:cxn ang="0">
                  <a:pos x="140" y="169"/>
                </a:cxn>
                <a:cxn ang="0">
                  <a:pos x="140" y="169"/>
                </a:cxn>
                <a:cxn ang="0">
                  <a:pos x="138" y="87"/>
                </a:cxn>
                <a:cxn ang="0">
                  <a:pos x="136" y="70"/>
                </a:cxn>
                <a:cxn ang="0">
                  <a:pos x="136" y="69"/>
                </a:cxn>
                <a:cxn ang="0">
                  <a:pos x="136" y="70"/>
                </a:cxn>
                <a:cxn ang="0">
                  <a:pos x="138" y="87"/>
                </a:cxn>
                <a:cxn ang="0">
                  <a:pos x="159" y="203"/>
                </a:cxn>
                <a:cxn ang="0">
                  <a:pos x="192" y="194"/>
                </a:cxn>
              </a:cxnLst>
              <a:rect l="0" t="0" r="r" b="b"/>
              <a:pathLst>
                <a:path w="198" h="231">
                  <a:moveTo>
                    <a:pt x="192" y="194"/>
                  </a:moveTo>
                  <a:cubicBezTo>
                    <a:pt x="189" y="184"/>
                    <a:pt x="172" y="67"/>
                    <a:pt x="169" y="49"/>
                  </a:cubicBezTo>
                  <a:cubicBezTo>
                    <a:pt x="166" y="32"/>
                    <a:pt x="151" y="26"/>
                    <a:pt x="143" y="24"/>
                  </a:cubicBezTo>
                  <a:cubicBezTo>
                    <a:pt x="135" y="21"/>
                    <a:pt x="113" y="16"/>
                    <a:pt x="100" y="12"/>
                  </a:cubicBezTo>
                  <a:cubicBezTo>
                    <a:pt x="88" y="9"/>
                    <a:pt x="69" y="3"/>
                    <a:pt x="60" y="2"/>
                  </a:cubicBezTo>
                  <a:cubicBezTo>
                    <a:pt x="51" y="0"/>
                    <a:pt x="33" y="3"/>
                    <a:pt x="30" y="11"/>
                  </a:cubicBezTo>
                  <a:cubicBezTo>
                    <a:pt x="28" y="17"/>
                    <a:pt x="8" y="139"/>
                    <a:pt x="4" y="159"/>
                  </a:cubicBezTo>
                  <a:cubicBezTo>
                    <a:pt x="0" y="180"/>
                    <a:pt x="31" y="184"/>
                    <a:pt x="36" y="168"/>
                  </a:cubicBezTo>
                  <a:cubicBezTo>
                    <a:pt x="40" y="157"/>
                    <a:pt x="55" y="38"/>
                    <a:pt x="54" y="47"/>
                  </a:cubicBezTo>
                  <a:cubicBezTo>
                    <a:pt x="54" y="53"/>
                    <a:pt x="53" y="121"/>
                    <a:pt x="53" y="164"/>
                  </a:cubicBezTo>
                  <a:cubicBezTo>
                    <a:pt x="54" y="169"/>
                    <a:pt x="56" y="173"/>
                    <a:pt x="62" y="174"/>
                  </a:cubicBezTo>
                  <a:cubicBezTo>
                    <a:pt x="74" y="177"/>
                    <a:pt x="106" y="187"/>
                    <a:pt x="113" y="188"/>
                  </a:cubicBezTo>
                  <a:cubicBezTo>
                    <a:pt x="121" y="190"/>
                    <a:pt x="137" y="180"/>
                    <a:pt x="140" y="169"/>
                  </a:cubicBezTo>
                  <a:cubicBezTo>
                    <a:pt x="140" y="169"/>
                    <a:pt x="140" y="169"/>
                    <a:pt x="140" y="169"/>
                  </a:cubicBezTo>
                  <a:cubicBezTo>
                    <a:pt x="140" y="141"/>
                    <a:pt x="140" y="110"/>
                    <a:pt x="138" y="87"/>
                  </a:cubicBezTo>
                  <a:cubicBezTo>
                    <a:pt x="137" y="78"/>
                    <a:pt x="137" y="73"/>
                    <a:pt x="136" y="70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69"/>
                    <a:pt x="136" y="69"/>
                    <a:pt x="136" y="70"/>
                  </a:cubicBezTo>
                  <a:cubicBezTo>
                    <a:pt x="137" y="75"/>
                    <a:pt x="138" y="81"/>
                    <a:pt x="138" y="87"/>
                  </a:cubicBezTo>
                  <a:cubicBezTo>
                    <a:pt x="141" y="109"/>
                    <a:pt x="148" y="149"/>
                    <a:pt x="159" y="203"/>
                  </a:cubicBezTo>
                  <a:cubicBezTo>
                    <a:pt x="165" y="231"/>
                    <a:pt x="198" y="218"/>
                    <a:pt x="192" y="194"/>
                  </a:cubicBezTo>
                </a:path>
              </a:pathLst>
            </a:custGeom>
            <a:gradFill rotWithShape="1">
              <a:gsLst>
                <a:gs pos="0">
                  <a:schemeClr val="bg1"/>
                </a:gs>
                <a:gs pos="50000">
                  <a:schemeClr val="bg1">
                    <a:gamma/>
                    <a:shade val="85882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893014">
                <a:defRPr/>
              </a:pPr>
              <a:endParaRPr lang="en-CA" sz="17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62" name="Freeform 583"/>
            <p:cNvSpPr>
              <a:spLocks noChangeAspect="1"/>
            </p:cNvSpPr>
            <p:nvPr/>
          </p:nvSpPr>
          <p:spPr bwMode="gray">
            <a:xfrm flipH="1">
              <a:off x="604435" y="2982251"/>
              <a:ext cx="91534" cy="199083"/>
            </a:xfrm>
            <a:custGeom>
              <a:avLst/>
              <a:gdLst>
                <a:gd name="T0" fmla="*/ 2147483647 w 87"/>
                <a:gd name="T1" fmla="*/ 2147483647 h 185"/>
                <a:gd name="T2" fmla="*/ 2147483647 w 87"/>
                <a:gd name="T3" fmla="*/ 2147483647 h 185"/>
                <a:gd name="T4" fmla="*/ 2147483647 w 87"/>
                <a:gd name="T5" fmla="*/ 2147483647 h 185"/>
                <a:gd name="T6" fmla="*/ 2147483647 w 87"/>
                <a:gd name="T7" fmla="*/ 2147483647 h 185"/>
                <a:gd name="T8" fmla="*/ 2147483647 w 87"/>
                <a:gd name="T9" fmla="*/ 2147483647 h 185"/>
                <a:gd name="T10" fmla="*/ 2147483647 w 87"/>
                <a:gd name="T11" fmla="*/ 2147483647 h 185"/>
                <a:gd name="T12" fmla="*/ 2147483647 w 87"/>
                <a:gd name="T13" fmla="*/ 2147483647 h 185"/>
                <a:gd name="T14" fmla="*/ 2147483647 w 87"/>
                <a:gd name="T15" fmla="*/ 2147483647 h 185"/>
                <a:gd name="T16" fmla="*/ 2147483647 w 87"/>
                <a:gd name="T17" fmla="*/ 2147483647 h 185"/>
                <a:gd name="T18" fmla="*/ 2147483647 w 87"/>
                <a:gd name="T19" fmla="*/ 2147483647 h 185"/>
                <a:gd name="T20" fmla="*/ 2147483647 w 87"/>
                <a:gd name="T21" fmla="*/ 2147483647 h 185"/>
                <a:gd name="T22" fmla="*/ 2147483647 w 87"/>
                <a:gd name="T23" fmla="*/ 0 h 185"/>
                <a:gd name="T24" fmla="*/ 2147483647 w 87"/>
                <a:gd name="T25" fmla="*/ 2147483647 h 185"/>
                <a:gd name="T26" fmla="*/ 2147483647 w 87"/>
                <a:gd name="T27" fmla="*/ 2147483647 h 185"/>
                <a:gd name="T28" fmla="*/ 2147483647 w 87"/>
                <a:gd name="T29" fmla="*/ 2147483647 h 185"/>
                <a:gd name="T30" fmla="*/ 0 w 87"/>
                <a:gd name="T31" fmla="*/ 2147483647 h 185"/>
                <a:gd name="T32" fmla="*/ 2147483647 w 87"/>
                <a:gd name="T33" fmla="*/ 2147483647 h 185"/>
                <a:gd name="T34" fmla="*/ 2147483647 w 87"/>
                <a:gd name="T35" fmla="*/ 2147483647 h 185"/>
                <a:gd name="T36" fmla="*/ 2147483647 w 87"/>
                <a:gd name="T37" fmla="*/ 2147483647 h 185"/>
                <a:gd name="T38" fmla="*/ 2147483647 w 87"/>
                <a:gd name="T39" fmla="*/ 2147483647 h 1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85"/>
                <a:gd name="T62" fmla="*/ 87 w 87"/>
                <a:gd name="T63" fmla="*/ 185 h 18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85">
                  <a:moveTo>
                    <a:pt x="87" y="103"/>
                  </a:moveTo>
                  <a:cubicBezTo>
                    <a:pt x="84" y="113"/>
                    <a:pt x="72" y="121"/>
                    <a:pt x="63" y="122"/>
                  </a:cubicBezTo>
                  <a:cubicBezTo>
                    <a:pt x="63" y="122"/>
                    <a:pt x="63" y="122"/>
                    <a:pt x="63" y="122"/>
                  </a:cubicBezTo>
                  <a:cubicBezTo>
                    <a:pt x="63" y="122"/>
                    <a:pt x="63" y="51"/>
                    <a:pt x="63" y="41"/>
                  </a:cubicBezTo>
                  <a:cubicBezTo>
                    <a:pt x="63" y="30"/>
                    <a:pt x="71" y="15"/>
                    <a:pt x="76" y="15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58" y="12"/>
                    <a:pt x="50" y="26"/>
                    <a:pt x="49" y="37"/>
                  </a:cubicBezTo>
                  <a:cubicBezTo>
                    <a:pt x="48" y="49"/>
                    <a:pt x="49" y="118"/>
                    <a:pt x="49" y="118"/>
                  </a:cubicBezTo>
                  <a:cubicBezTo>
                    <a:pt x="40" y="116"/>
                    <a:pt x="28" y="112"/>
                    <a:pt x="19" y="110"/>
                  </a:cubicBezTo>
                  <a:cubicBezTo>
                    <a:pt x="18" y="108"/>
                    <a:pt x="18" y="39"/>
                    <a:pt x="18" y="29"/>
                  </a:cubicBezTo>
                  <a:cubicBezTo>
                    <a:pt x="18" y="18"/>
                    <a:pt x="27" y="3"/>
                    <a:pt x="31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7" y="15"/>
                    <a:pt x="6" y="26"/>
                  </a:cubicBezTo>
                  <a:cubicBezTo>
                    <a:pt x="5" y="37"/>
                    <a:pt x="6" y="100"/>
                    <a:pt x="6" y="107"/>
                  </a:cubicBezTo>
                  <a:cubicBezTo>
                    <a:pt x="3" y="105"/>
                    <a:pt x="2" y="102"/>
                    <a:pt x="1" y="99"/>
                  </a:cubicBezTo>
                  <a:cubicBezTo>
                    <a:pt x="0" y="119"/>
                    <a:pt x="0" y="141"/>
                    <a:pt x="0" y="159"/>
                  </a:cubicBezTo>
                  <a:cubicBezTo>
                    <a:pt x="1" y="164"/>
                    <a:pt x="4" y="169"/>
                    <a:pt x="10" y="170"/>
                  </a:cubicBezTo>
                  <a:cubicBezTo>
                    <a:pt x="22" y="172"/>
                    <a:pt x="53" y="182"/>
                    <a:pt x="61" y="184"/>
                  </a:cubicBezTo>
                  <a:cubicBezTo>
                    <a:pt x="69" y="185"/>
                    <a:pt x="85" y="176"/>
                    <a:pt x="87" y="164"/>
                  </a:cubicBezTo>
                  <a:cubicBezTo>
                    <a:pt x="87" y="144"/>
                    <a:pt x="87" y="123"/>
                    <a:pt x="87" y="103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63" name="Freeform 584"/>
            <p:cNvSpPr>
              <a:spLocks noChangeAspect="1"/>
            </p:cNvSpPr>
            <p:nvPr/>
          </p:nvSpPr>
          <p:spPr bwMode="gray">
            <a:xfrm flipH="1">
              <a:off x="615295" y="2964081"/>
              <a:ext cx="68263" cy="43450"/>
            </a:xfrm>
            <a:custGeom>
              <a:avLst/>
              <a:gdLst>
                <a:gd name="T0" fmla="*/ 2147483647 w 66"/>
                <a:gd name="T1" fmla="*/ 2147483647 h 41"/>
                <a:gd name="T2" fmla="*/ 2147483647 w 66"/>
                <a:gd name="T3" fmla="*/ 2147483647 h 41"/>
                <a:gd name="T4" fmla="*/ 2147483647 w 66"/>
                <a:gd name="T5" fmla="*/ 2147483647 h 41"/>
                <a:gd name="T6" fmla="*/ 2147483647 w 66"/>
                <a:gd name="T7" fmla="*/ 2147483647 h 41"/>
                <a:gd name="T8" fmla="*/ 2147483647 w 66"/>
                <a:gd name="T9" fmla="*/ 2147483647 h 41"/>
                <a:gd name="T10" fmla="*/ 2147483647 w 66"/>
                <a:gd name="T11" fmla="*/ 2147483647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6"/>
                <a:gd name="T19" fmla="*/ 0 h 41"/>
                <a:gd name="T20" fmla="*/ 66 w 66"/>
                <a:gd name="T21" fmla="*/ 41 h 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6" h="41">
                  <a:moveTo>
                    <a:pt x="29" y="39"/>
                  </a:moveTo>
                  <a:cubicBezTo>
                    <a:pt x="14" y="37"/>
                    <a:pt x="0" y="25"/>
                    <a:pt x="9" y="23"/>
                  </a:cubicBezTo>
                  <a:cubicBezTo>
                    <a:pt x="16" y="21"/>
                    <a:pt x="13" y="16"/>
                    <a:pt x="15" y="13"/>
                  </a:cubicBezTo>
                  <a:cubicBezTo>
                    <a:pt x="18" y="10"/>
                    <a:pt x="53" y="0"/>
                    <a:pt x="53" y="16"/>
                  </a:cubicBezTo>
                  <a:cubicBezTo>
                    <a:pt x="53" y="21"/>
                    <a:pt x="47" y="25"/>
                    <a:pt x="57" y="30"/>
                  </a:cubicBezTo>
                  <a:cubicBezTo>
                    <a:pt x="66" y="33"/>
                    <a:pt x="46" y="41"/>
                    <a:pt x="29" y="39"/>
                  </a:cubicBezTo>
                  <a:close/>
                </a:path>
              </a:pathLst>
            </a:custGeom>
            <a:solidFill>
              <a:srgbClr val="FFFFFF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64" name="Oval 585"/>
            <p:cNvSpPr>
              <a:spLocks noChangeAspect="1" noChangeArrowheads="1"/>
            </p:cNvSpPr>
            <p:nvPr/>
          </p:nvSpPr>
          <p:spPr bwMode="gray">
            <a:xfrm>
              <a:off x="610641" y="2909570"/>
              <a:ext cx="82225" cy="82951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92175">
                <a:spcBef>
                  <a:spcPct val="0"/>
                </a:spcBef>
              </a:pPr>
              <a:endParaRPr lang="en-CA" sz="170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2365" name="Freeform 586"/>
            <p:cNvSpPr>
              <a:spLocks noChangeAspect="1"/>
            </p:cNvSpPr>
            <p:nvPr/>
          </p:nvSpPr>
          <p:spPr bwMode="gray">
            <a:xfrm flipH="1">
              <a:off x="610641" y="2907990"/>
              <a:ext cx="99291" cy="53721"/>
            </a:xfrm>
            <a:custGeom>
              <a:avLst/>
              <a:gdLst>
                <a:gd name="T0" fmla="*/ 2147483647 w 94"/>
                <a:gd name="T1" fmla="*/ 2147483647 h 50"/>
                <a:gd name="T2" fmla="*/ 2147483647 w 94"/>
                <a:gd name="T3" fmla="*/ 2147483647 h 50"/>
                <a:gd name="T4" fmla="*/ 2147483647 w 94"/>
                <a:gd name="T5" fmla="*/ 2147483647 h 50"/>
                <a:gd name="T6" fmla="*/ 2147483647 w 94"/>
                <a:gd name="T7" fmla="*/ 2147483647 h 50"/>
                <a:gd name="T8" fmla="*/ 2147483647 w 94"/>
                <a:gd name="T9" fmla="*/ 2147483647 h 50"/>
                <a:gd name="T10" fmla="*/ 2147483647 w 94"/>
                <a:gd name="T11" fmla="*/ 2147483647 h 50"/>
                <a:gd name="T12" fmla="*/ 2147483647 w 94"/>
                <a:gd name="T13" fmla="*/ 2147483647 h 50"/>
                <a:gd name="T14" fmla="*/ 2147483647 w 94"/>
                <a:gd name="T15" fmla="*/ 2147483647 h 50"/>
                <a:gd name="T16" fmla="*/ 2147483647 w 94"/>
                <a:gd name="T17" fmla="*/ 2147483647 h 50"/>
                <a:gd name="T18" fmla="*/ 2147483647 w 94"/>
                <a:gd name="T19" fmla="*/ 2147483647 h 50"/>
                <a:gd name="T20" fmla="*/ 2147483647 w 94"/>
                <a:gd name="T21" fmla="*/ 2147483647 h 50"/>
                <a:gd name="T22" fmla="*/ 2147483647 w 94"/>
                <a:gd name="T23" fmla="*/ 2147483647 h 50"/>
                <a:gd name="T24" fmla="*/ 2147483647 w 94"/>
                <a:gd name="T25" fmla="*/ 2147483647 h 50"/>
                <a:gd name="T26" fmla="*/ 2147483647 w 94"/>
                <a:gd name="T27" fmla="*/ 2147483647 h 50"/>
                <a:gd name="T28" fmla="*/ 2147483647 w 94"/>
                <a:gd name="T29" fmla="*/ 2147483647 h 50"/>
                <a:gd name="T30" fmla="*/ 2147483647 w 94"/>
                <a:gd name="T31" fmla="*/ 2147483647 h 50"/>
                <a:gd name="T32" fmla="*/ 0 w 94"/>
                <a:gd name="T33" fmla="*/ 2147483647 h 50"/>
                <a:gd name="T34" fmla="*/ 2147483647 w 94"/>
                <a:gd name="T35" fmla="*/ 2147483647 h 50"/>
                <a:gd name="T36" fmla="*/ 2147483647 w 94"/>
                <a:gd name="T37" fmla="*/ 2147483647 h 50"/>
                <a:gd name="T38" fmla="*/ 2147483647 w 94"/>
                <a:gd name="T39" fmla="*/ 2147483647 h 50"/>
                <a:gd name="T40" fmla="*/ 2147483647 w 94"/>
                <a:gd name="T41" fmla="*/ 2147483647 h 50"/>
                <a:gd name="T42" fmla="*/ 2147483647 w 94"/>
                <a:gd name="T43" fmla="*/ 2147483647 h 50"/>
                <a:gd name="T44" fmla="*/ 2147483647 w 94"/>
                <a:gd name="T45" fmla="*/ 2147483647 h 50"/>
                <a:gd name="T46" fmla="*/ 2147483647 w 94"/>
                <a:gd name="T47" fmla="*/ 2147483647 h 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4"/>
                <a:gd name="T73" fmla="*/ 0 h 50"/>
                <a:gd name="T74" fmla="*/ 94 w 94"/>
                <a:gd name="T75" fmla="*/ 50 h 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4" h="50">
                  <a:moveTo>
                    <a:pt x="54" y="1"/>
                  </a:moveTo>
                  <a:cubicBezTo>
                    <a:pt x="52" y="1"/>
                    <a:pt x="51" y="1"/>
                    <a:pt x="49" y="1"/>
                  </a:cubicBezTo>
                  <a:cubicBezTo>
                    <a:pt x="49" y="1"/>
                    <a:pt x="48" y="1"/>
                    <a:pt x="48" y="1"/>
                  </a:cubicBezTo>
                  <a:cubicBezTo>
                    <a:pt x="47" y="2"/>
                    <a:pt x="46" y="2"/>
                    <a:pt x="44" y="2"/>
                  </a:cubicBezTo>
                  <a:cubicBezTo>
                    <a:pt x="44" y="2"/>
                    <a:pt x="44" y="2"/>
                    <a:pt x="43" y="3"/>
                  </a:cubicBezTo>
                  <a:cubicBezTo>
                    <a:pt x="42" y="3"/>
                    <a:pt x="41" y="3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7" y="5"/>
                    <a:pt x="36" y="6"/>
                    <a:pt x="35" y="6"/>
                  </a:cubicBezTo>
                  <a:cubicBezTo>
                    <a:pt x="35" y="6"/>
                    <a:pt x="35" y="7"/>
                    <a:pt x="34" y="7"/>
                  </a:cubicBezTo>
                  <a:cubicBezTo>
                    <a:pt x="33" y="7"/>
                    <a:pt x="32" y="8"/>
                    <a:pt x="31" y="9"/>
                  </a:cubicBezTo>
                  <a:cubicBezTo>
                    <a:pt x="31" y="9"/>
                    <a:pt x="31" y="9"/>
                    <a:pt x="30" y="10"/>
                  </a:cubicBezTo>
                  <a:cubicBezTo>
                    <a:pt x="27" y="13"/>
                    <a:pt x="24" y="16"/>
                    <a:pt x="21" y="2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2"/>
                    <a:pt x="20" y="22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7" y="27"/>
                    <a:pt x="3" y="32"/>
                    <a:pt x="0" y="35"/>
                  </a:cubicBezTo>
                  <a:cubicBezTo>
                    <a:pt x="2" y="32"/>
                    <a:pt x="6" y="33"/>
                    <a:pt x="10" y="34"/>
                  </a:cubicBezTo>
                  <a:cubicBezTo>
                    <a:pt x="12" y="34"/>
                    <a:pt x="14" y="35"/>
                    <a:pt x="16" y="36"/>
                  </a:cubicBezTo>
                  <a:cubicBezTo>
                    <a:pt x="18" y="36"/>
                    <a:pt x="19" y="37"/>
                    <a:pt x="20" y="37"/>
                  </a:cubicBezTo>
                  <a:cubicBezTo>
                    <a:pt x="27" y="41"/>
                    <a:pt x="34" y="50"/>
                    <a:pt x="40" y="48"/>
                  </a:cubicBezTo>
                  <a:cubicBezTo>
                    <a:pt x="40" y="48"/>
                    <a:pt x="51" y="40"/>
                    <a:pt x="57" y="40"/>
                  </a:cubicBezTo>
                  <a:cubicBezTo>
                    <a:pt x="84" y="41"/>
                    <a:pt x="94" y="34"/>
                    <a:pt x="94" y="34"/>
                  </a:cubicBezTo>
                  <a:cubicBezTo>
                    <a:pt x="92" y="14"/>
                    <a:pt x="74" y="0"/>
                    <a:pt x="54" y="1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</p:grpSp>
      <p:grpSp>
        <p:nvGrpSpPr>
          <p:cNvPr id="10" name="Group 214"/>
          <p:cNvGrpSpPr>
            <a:grpSpLocks/>
          </p:cNvGrpSpPr>
          <p:nvPr/>
        </p:nvGrpSpPr>
        <p:grpSpPr bwMode="auto">
          <a:xfrm>
            <a:off x="1720850" y="2908300"/>
            <a:ext cx="204788" cy="503238"/>
            <a:chOff x="543930" y="2907990"/>
            <a:chExt cx="204788" cy="503237"/>
          </a:xfrm>
        </p:grpSpPr>
        <p:sp>
          <p:nvSpPr>
            <p:cNvPr id="12354" name="Freeform 581"/>
            <p:cNvSpPr>
              <a:spLocks noChangeAspect="1"/>
            </p:cNvSpPr>
            <p:nvPr/>
          </p:nvSpPr>
          <p:spPr bwMode="gray">
            <a:xfrm flipH="1">
              <a:off x="604435" y="3151314"/>
              <a:ext cx="93861" cy="259913"/>
            </a:xfrm>
            <a:custGeom>
              <a:avLst/>
              <a:gdLst>
                <a:gd name="T0" fmla="*/ 2147483647 w 90"/>
                <a:gd name="T1" fmla="*/ 2147483647 h 245"/>
                <a:gd name="T2" fmla="*/ 2147483647 w 90"/>
                <a:gd name="T3" fmla="*/ 2147483647 h 245"/>
                <a:gd name="T4" fmla="*/ 2147483647 w 90"/>
                <a:gd name="T5" fmla="*/ 2147483647 h 245"/>
                <a:gd name="T6" fmla="*/ 2147483647 w 90"/>
                <a:gd name="T7" fmla="*/ 2147483647 h 245"/>
                <a:gd name="T8" fmla="*/ 2147483647 w 90"/>
                <a:gd name="T9" fmla="*/ 2147483647 h 245"/>
                <a:gd name="T10" fmla="*/ 2147483647 w 90"/>
                <a:gd name="T11" fmla="*/ 0 h 245"/>
                <a:gd name="T12" fmla="*/ 2147483647 w 90"/>
                <a:gd name="T13" fmla="*/ 2147483647 h 245"/>
                <a:gd name="T14" fmla="*/ 2147483647 w 90"/>
                <a:gd name="T15" fmla="*/ 2147483647 h 245"/>
                <a:gd name="T16" fmla="*/ 2147483647 w 90"/>
                <a:gd name="T17" fmla="*/ 2147483647 h 245"/>
                <a:gd name="T18" fmla="*/ 2147483647 w 90"/>
                <a:gd name="T19" fmla="*/ 2147483647 h 245"/>
                <a:gd name="T20" fmla="*/ 2147483647 w 90"/>
                <a:gd name="T21" fmla="*/ 2147483647 h 245"/>
                <a:gd name="T22" fmla="*/ 2147483647 w 90"/>
                <a:gd name="T23" fmla="*/ 2147483647 h 245"/>
                <a:gd name="T24" fmla="*/ 2147483647 w 90"/>
                <a:gd name="T25" fmla="*/ 2147483647 h 245"/>
                <a:gd name="T26" fmla="*/ 2147483647 w 90"/>
                <a:gd name="T27" fmla="*/ 2147483647 h 245"/>
                <a:gd name="T28" fmla="*/ 2147483647 w 90"/>
                <a:gd name="T29" fmla="*/ 2147483647 h 245"/>
                <a:gd name="T30" fmla="*/ 2147483647 w 90"/>
                <a:gd name="T31" fmla="*/ 2147483647 h 2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0"/>
                <a:gd name="T49" fmla="*/ 0 h 245"/>
                <a:gd name="T50" fmla="*/ 90 w 90"/>
                <a:gd name="T51" fmla="*/ 245 h 24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0" h="245">
                  <a:moveTo>
                    <a:pt x="89" y="156"/>
                  </a:moveTo>
                  <a:cubicBezTo>
                    <a:pt x="89" y="140"/>
                    <a:pt x="90" y="47"/>
                    <a:pt x="90" y="7"/>
                  </a:cubicBezTo>
                  <a:cubicBezTo>
                    <a:pt x="89" y="6"/>
                    <a:pt x="89" y="6"/>
                    <a:pt x="89" y="5"/>
                  </a:cubicBezTo>
                  <a:cubicBezTo>
                    <a:pt x="87" y="16"/>
                    <a:pt x="71" y="22"/>
                    <a:pt x="63" y="20"/>
                  </a:cubicBezTo>
                  <a:cubicBezTo>
                    <a:pt x="55" y="19"/>
                    <a:pt x="24" y="13"/>
                    <a:pt x="12" y="10"/>
                  </a:cubicBezTo>
                  <a:cubicBezTo>
                    <a:pt x="6" y="9"/>
                    <a:pt x="4" y="4"/>
                    <a:pt x="3" y="0"/>
                  </a:cubicBezTo>
                  <a:cubicBezTo>
                    <a:pt x="2" y="18"/>
                    <a:pt x="3" y="32"/>
                    <a:pt x="3" y="36"/>
                  </a:cubicBezTo>
                  <a:cubicBezTo>
                    <a:pt x="3" y="49"/>
                    <a:pt x="0" y="181"/>
                    <a:pt x="2" y="205"/>
                  </a:cubicBezTo>
                  <a:cubicBezTo>
                    <a:pt x="3" y="228"/>
                    <a:pt x="43" y="224"/>
                    <a:pt x="44" y="204"/>
                  </a:cubicBezTo>
                  <a:cubicBezTo>
                    <a:pt x="43" y="170"/>
                    <a:pt x="46" y="55"/>
                    <a:pt x="45" y="51"/>
                  </a:cubicBezTo>
                  <a:cubicBezTo>
                    <a:pt x="45" y="47"/>
                    <a:pt x="36" y="46"/>
                    <a:pt x="36" y="39"/>
                  </a:cubicBezTo>
                  <a:cubicBezTo>
                    <a:pt x="36" y="46"/>
                    <a:pt x="45" y="47"/>
                    <a:pt x="45" y="51"/>
                  </a:cubicBezTo>
                  <a:cubicBezTo>
                    <a:pt x="46" y="55"/>
                    <a:pt x="43" y="170"/>
                    <a:pt x="44" y="204"/>
                  </a:cubicBezTo>
                  <a:cubicBezTo>
                    <a:pt x="44" y="206"/>
                    <a:pt x="44" y="211"/>
                    <a:pt x="44" y="211"/>
                  </a:cubicBezTo>
                  <a:cubicBezTo>
                    <a:pt x="46" y="245"/>
                    <a:pt x="87" y="235"/>
                    <a:pt x="88" y="218"/>
                  </a:cubicBezTo>
                  <a:cubicBezTo>
                    <a:pt x="90" y="201"/>
                    <a:pt x="88" y="171"/>
                    <a:pt x="89" y="15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49" name="Freeform 582"/>
            <p:cNvSpPr>
              <a:spLocks noChangeAspect="1"/>
            </p:cNvSpPr>
            <p:nvPr/>
          </p:nvSpPr>
          <p:spPr bwMode="gray">
            <a:xfrm flipH="1">
              <a:off x="543930" y="2976253"/>
              <a:ext cx="204788" cy="244475"/>
            </a:xfrm>
            <a:custGeom>
              <a:avLst/>
              <a:gdLst/>
              <a:ahLst/>
              <a:cxnLst>
                <a:cxn ang="0">
                  <a:pos x="192" y="194"/>
                </a:cxn>
                <a:cxn ang="0">
                  <a:pos x="169" y="49"/>
                </a:cxn>
                <a:cxn ang="0">
                  <a:pos x="143" y="24"/>
                </a:cxn>
                <a:cxn ang="0">
                  <a:pos x="100" y="12"/>
                </a:cxn>
                <a:cxn ang="0">
                  <a:pos x="60" y="2"/>
                </a:cxn>
                <a:cxn ang="0">
                  <a:pos x="30" y="11"/>
                </a:cxn>
                <a:cxn ang="0">
                  <a:pos x="4" y="159"/>
                </a:cxn>
                <a:cxn ang="0">
                  <a:pos x="36" y="168"/>
                </a:cxn>
                <a:cxn ang="0">
                  <a:pos x="54" y="47"/>
                </a:cxn>
                <a:cxn ang="0">
                  <a:pos x="53" y="164"/>
                </a:cxn>
                <a:cxn ang="0">
                  <a:pos x="62" y="174"/>
                </a:cxn>
                <a:cxn ang="0">
                  <a:pos x="113" y="188"/>
                </a:cxn>
                <a:cxn ang="0">
                  <a:pos x="140" y="169"/>
                </a:cxn>
                <a:cxn ang="0">
                  <a:pos x="140" y="169"/>
                </a:cxn>
                <a:cxn ang="0">
                  <a:pos x="138" y="87"/>
                </a:cxn>
                <a:cxn ang="0">
                  <a:pos x="136" y="70"/>
                </a:cxn>
                <a:cxn ang="0">
                  <a:pos x="136" y="69"/>
                </a:cxn>
                <a:cxn ang="0">
                  <a:pos x="136" y="70"/>
                </a:cxn>
                <a:cxn ang="0">
                  <a:pos x="138" y="87"/>
                </a:cxn>
                <a:cxn ang="0">
                  <a:pos x="159" y="203"/>
                </a:cxn>
                <a:cxn ang="0">
                  <a:pos x="192" y="194"/>
                </a:cxn>
              </a:cxnLst>
              <a:rect l="0" t="0" r="r" b="b"/>
              <a:pathLst>
                <a:path w="198" h="231">
                  <a:moveTo>
                    <a:pt x="192" y="194"/>
                  </a:moveTo>
                  <a:cubicBezTo>
                    <a:pt x="189" y="184"/>
                    <a:pt x="172" y="67"/>
                    <a:pt x="169" y="49"/>
                  </a:cubicBezTo>
                  <a:cubicBezTo>
                    <a:pt x="166" y="32"/>
                    <a:pt x="151" y="26"/>
                    <a:pt x="143" y="24"/>
                  </a:cubicBezTo>
                  <a:cubicBezTo>
                    <a:pt x="135" y="21"/>
                    <a:pt x="113" y="16"/>
                    <a:pt x="100" y="12"/>
                  </a:cubicBezTo>
                  <a:cubicBezTo>
                    <a:pt x="88" y="9"/>
                    <a:pt x="69" y="3"/>
                    <a:pt x="60" y="2"/>
                  </a:cubicBezTo>
                  <a:cubicBezTo>
                    <a:pt x="51" y="0"/>
                    <a:pt x="33" y="3"/>
                    <a:pt x="30" y="11"/>
                  </a:cubicBezTo>
                  <a:cubicBezTo>
                    <a:pt x="28" y="17"/>
                    <a:pt x="8" y="139"/>
                    <a:pt x="4" y="159"/>
                  </a:cubicBezTo>
                  <a:cubicBezTo>
                    <a:pt x="0" y="180"/>
                    <a:pt x="31" y="184"/>
                    <a:pt x="36" y="168"/>
                  </a:cubicBezTo>
                  <a:cubicBezTo>
                    <a:pt x="40" y="157"/>
                    <a:pt x="55" y="38"/>
                    <a:pt x="54" y="47"/>
                  </a:cubicBezTo>
                  <a:cubicBezTo>
                    <a:pt x="54" y="53"/>
                    <a:pt x="53" y="121"/>
                    <a:pt x="53" y="164"/>
                  </a:cubicBezTo>
                  <a:cubicBezTo>
                    <a:pt x="54" y="169"/>
                    <a:pt x="56" y="173"/>
                    <a:pt x="62" y="174"/>
                  </a:cubicBezTo>
                  <a:cubicBezTo>
                    <a:pt x="74" y="177"/>
                    <a:pt x="106" y="187"/>
                    <a:pt x="113" y="188"/>
                  </a:cubicBezTo>
                  <a:cubicBezTo>
                    <a:pt x="121" y="190"/>
                    <a:pt x="137" y="180"/>
                    <a:pt x="140" y="169"/>
                  </a:cubicBezTo>
                  <a:cubicBezTo>
                    <a:pt x="140" y="169"/>
                    <a:pt x="140" y="169"/>
                    <a:pt x="140" y="169"/>
                  </a:cubicBezTo>
                  <a:cubicBezTo>
                    <a:pt x="140" y="141"/>
                    <a:pt x="140" y="110"/>
                    <a:pt x="138" y="87"/>
                  </a:cubicBezTo>
                  <a:cubicBezTo>
                    <a:pt x="137" y="78"/>
                    <a:pt x="137" y="73"/>
                    <a:pt x="136" y="70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69"/>
                    <a:pt x="136" y="69"/>
                    <a:pt x="136" y="70"/>
                  </a:cubicBezTo>
                  <a:cubicBezTo>
                    <a:pt x="137" y="75"/>
                    <a:pt x="138" y="81"/>
                    <a:pt x="138" y="87"/>
                  </a:cubicBezTo>
                  <a:cubicBezTo>
                    <a:pt x="141" y="109"/>
                    <a:pt x="148" y="149"/>
                    <a:pt x="159" y="203"/>
                  </a:cubicBezTo>
                  <a:cubicBezTo>
                    <a:pt x="165" y="231"/>
                    <a:pt x="198" y="218"/>
                    <a:pt x="192" y="194"/>
                  </a:cubicBezTo>
                </a:path>
              </a:pathLst>
            </a:custGeom>
            <a:gradFill rotWithShape="1">
              <a:gsLst>
                <a:gs pos="0">
                  <a:schemeClr val="bg1"/>
                </a:gs>
                <a:gs pos="50000">
                  <a:schemeClr val="bg1">
                    <a:gamma/>
                    <a:shade val="85882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893014">
                <a:defRPr/>
              </a:pPr>
              <a:endParaRPr lang="en-CA" sz="17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56" name="Freeform 583"/>
            <p:cNvSpPr>
              <a:spLocks noChangeAspect="1"/>
            </p:cNvSpPr>
            <p:nvPr/>
          </p:nvSpPr>
          <p:spPr bwMode="gray">
            <a:xfrm flipH="1">
              <a:off x="604435" y="2982251"/>
              <a:ext cx="91534" cy="199083"/>
            </a:xfrm>
            <a:custGeom>
              <a:avLst/>
              <a:gdLst>
                <a:gd name="T0" fmla="*/ 2147483647 w 87"/>
                <a:gd name="T1" fmla="*/ 2147483647 h 185"/>
                <a:gd name="T2" fmla="*/ 2147483647 w 87"/>
                <a:gd name="T3" fmla="*/ 2147483647 h 185"/>
                <a:gd name="T4" fmla="*/ 2147483647 w 87"/>
                <a:gd name="T5" fmla="*/ 2147483647 h 185"/>
                <a:gd name="T6" fmla="*/ 2147483647 w 87"/>
                <a:gd name="T7" fmla="*/ 2147483647 h 185"/>
                <a:gd name="T8" fmla="*/ 2147483647 w 87"/>
                <a:gd name="T9" fmla="*/ 2147483647 h 185"/>
                <a:gd name="T10" fmla="*/ 2147483647 w 87"/>
                <a:gd name="T11" fmla="*/ 2147483647 h 185"/>
                <a:gd name="T12" fmla="*/ 2147483647 w 87"/>
                <a:gd name="T13" fmla="*/ 2147483647 h 185"/>
                <a:gd name="T14" fmla="*/ 2147483647 w 87"/>
                <a:gd name="T15" fmla="*/ 2147483647 h 185"/>
                <a:gd name="T16" fmla="*/ 2147483647 w 87"/>
                <a:gd name="T17" fmla="*/ 2147483647 h 185"/>
                <a:gd name="T18" fmla="*/ 2147483647 w 87"/>
                <a:gd name="T19" fmla="*/ 2147483647 h 185"/>
                <a:gd name="T20" fmla="*/ 2147483647 w 87"/>
                <a:gd name="T21" fmla="*/ 2147483647 h 185"/>
                <a:gd name="T22" fmla="*/ 2147483647 w 87"/>
                <a:gd name="T23" fmla="*/ 0 h 185"/>
                <a:gd name="T24" fmla="*/ 2147483647 w 87"/>
                <a:gd name="T25" fmla="*/ 2147483647 h 185"/>
                <a:gd name="T26" fmla="*/ 2147483647 w 87"/>
                <a:gd name="T27" fmla="*/ 2147483647 h 185"/>
                <a:gd name="T28" fmla="*/ 2147483647 w 87"/>
                <a:gd name="T29" fmla="*/ 2147483647 h 185"/>
                <a:gd name="T30" fmla="*/ 0 w 87"/>
                <a:gd name="T31" fmla="*/ 2147483647 h 185"/>
                <a:gd name="T32" fmla="*/ 2147483647 w 87"/>
                <a:gd name="T33" fmla="*/ 2147483647 h 185"/>
                <a:gd name="T34" fmla="*/ 2147483647 w 87"/>
                <a:gd name="T35" fmla="*/ 2147483647 h 185"/>
                <a:gd name="T36" fmla="*/ 2147483647 w 87"/>
                <a:gd name="T37" fmla="*/ 2147483647 h 185"/>
                <a:gd name="T38" fmla="*/ 2147483647 w 87"/>
                <a:gd name="T39" fmla="*/ 2147483647 h 1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85"/>
                <a:gd name="T62" fmla="*/ 87 w 87"/>
                <a:gd name="T63" fmla="*/ 185 h 18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85">
                  <a:moveTo>
                    <a:pt x="87" y="103"/>
                  </a:moveTo>
                  <a:cubicBezTo>
                    <a:pt x="84" y="113"/>
                    <a:pt x="72" y="121"/>
                    <a:pt x="63" y="122"/>
                  </a:cubicBezTo>
                  <a:cubicBezTo>
                    <a:pt x="63" y="122"/>
                    <a:pt x="63" y="122"/>
                    <a:pt x="63" y="122"/>
                  </a:cubicBezTo>
                  <a:cubicBezTo>
                    <a:pt x="63" y="122"/>
                    <a:pt x="63" y="51"/>
                    <a:pt x="63" y="41"/>
                  </a:cubicBezTo>
                  <a:cubicBezTo>
                    <a:pt x="63" y="30"/>
                    <a:pt x="71" y="15"/>
                    <a:pt x="76" y="15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58" y="12"/>
                    <a:pt x="50" y="26"/>
                    <a:pt x="49" y="37"/>
                  </a:cubicBezTo>
                  <a:cubicBezTo>
                    <a:pt x="48" y="49"/>
                    <a:pt x="49" y="118"/>
                    <a:pt x="49" y="118"/>
                  </a:cubicBezTo>
                  <a:cubicBezTo>
                    <a:pt x="40" y="116"/>
                    <a:pt x="28" y="112"/>
                    <a:pt x="19" y="110"/>
                  </a:cubicBezTo>
                  <a:cubicBezTo>
                    <a:pt x="18" y="108"/>
                    <a:pt x="18" y="39"/>
                    <a:pt x="18" y="29"/>
                  </a:cubicBezTo>
                  <a:cubicBezTo>
                    <a:pt x="18" y="18"/>
                    <a:pt x="27" y="3"/>
                    <a:pt x="31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7" y="15"/>
                    <a:pt x="6" y="26"/>
                  </a:cubicBezTo>
                  <a:cubicBezTo>
                    <a:pt x="5" y="37"/>
                    <a:pt x="6" y="100"/>
                    <a:pt x="6" y="107"/>
                  </a:cubicBezTo>
                  <a:cubicBezTo>
                    <a:pt x="3" y="105"/>
                    <a:pt x="2" y="102"/>
                    <a:pt x="1" y="99"/>
                  </a:cubicBezTo>
                  <a:cubicBezTo>
                    <a:pt x="0" y="119"/>
                    <a:pt x="0" y="141"/>
                    <a:pt x="0" y="159"/>
                  </a:cubicBezTo>
                  <a:cubicBezTo>
                    <a:pt x="1" y="164"/>
                    <a:pt x="4" y="169"/>
                    <a:pt x="10" y="170"/>
                  </a:cubicBezTo>
                  <a:cubicBezTo>
                    <a:pt x="22" y="172"/>
                    <a:pt x="53" y="182"/>
                    <a:pt x="61" y="184"/>
                  </a:cubicBezTo>
                  <a:cubicBezTo>
                    <a:pt x="69" y="185"/>
                    <a:pt x="85" y="176"/>
                    <a:pt x="87" y="164"/>
                  </a:cubicBezTo>
                  <a:cubicBezTo>
                    <a:pt x="87" y="144"/>
                    <a:pt x="87" y="123"/>
                    <a:pt x="87" y="103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57" name="Freeform 584"/>
            <p:cNvSpPr>
              <a:spLocks noChangeAspect="1"/>
            </p:cNvSpPr>
            <p:nvPr/>
          </p:nvSpPr>
          <p:spPr bwMode="gray">
            <a:xfrm flipH="1">
              <a:off x="615295" y="2964081"/>
              <a:ext cx="68263" cy="43450"/>
            </a:xfrm>
            <a:custGeom>
              <a:avLst/>
              <a:gdLst>
                <a:gd name="T0" fmla="*/ 2147483647 w 66"/>
                <a:gd name="T1" fmla="*/ 2147483647 h 41"/>
                <a:gd name="T2" fmla="*/ 2147483647 w 66"/>
                <a:gd name="T3" fmla="*/ 2147483647 h 41"/>
                <a:gd name="T4" fmla="*/ 2147483647 w 66"/>
                <a:gd name="T5" fmla="*/ 2147483647 h 41"/>
                <a:gd name="T6" fmla="*/ 2147483647 w 66"/>
                <a:gd name="T7" fmla="*/ 2147483647 h 41"/>
                <a:gd name="T8" fmla="*/ 2147483647 w 66"/>
                <a:gd name="T9" fmla="*/ 2147483647 h 41"/>
                <a:gd name="T10" fmla="*/ 2147483647 w 66"/>
                <a:gd name="T11" fmla="*/ 2147483647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6"/>
                <a:gd name="T19" fmla="*/ 0 h 41"/>
                <a:gd name="T20" fmla="*/ 66 w 66"/>
                <a:gd name="T21" fmla="*/ 41 h 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6" h="41">
                  <a:moveTo>
                    <a:pt x="29" y="39"/>
                  </a:moveTo>
                  <a:cubicBezTo>
                    <a:pt x="14" y="37"/>
                    <a:pt x="0" y="25"/>
                    <a:pt x="9" y="23"/>
                  </a:cubicBezTo>
                  <a:cubicBezTo>
                    <a:pt x="16" y="21"/>
                    <a:pt x="13" y="16"/>
                    <a:pt x="15" y="13"/>
                  </a:cubicBezTo>
                  <a:cubicBezTo>
                    <a:pt x="18" y="10"/>
                    <a:pt x="53" y="0"/>
                    <a:pt x="53" y="16"/>
                  </a:cubicBezTo>
                  <a:cubicBezTo>
                    <a:pt x="53" y="21"/>
                    <a:pt x="47" y="25"/>
                    <a:pt x="57" y="30"/>
                  </a:cubicBezTo>
                  <a:cubicBezTo>
                    <a:pt x="66" y="33"/>
                    <a:pt x="46" y="41"/>
                    <a:pt x="29" y="39"/>
                  </a:cubicBezTo>
                  <a:close/>
                </a:path>
              </a:pathLst>
            </a:custGeom>
            <a:solidFill>
              <a:srgbClr val="FFFFFF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58" name="Oval 585"/>
            <p:cNvSpPr>
              <a:spLocks noChangeAspect="1" noChangeArrowheads="1"/>
            </p:cNvSpPr>
            <p:nvPr/>
          </p:nvSpPr>
          <p:spPr bwMode="gray">
            <a:xfrm>
              <a:off x="610641" y="2909570"/>
              <a:ext cx="82225" cy="82951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92175">
                <a:spcBef>
                  <a:spcPct val="0"/>
                </a:spcBef>
              </a:pPr>
              <a:endParaRPr lang="en-CA" sz="170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2359" name="Freeform 586"/>
            <p:cNvSpPr>
              <a:spLocks noChangeAspect="1"/>
            </p:cNvSpPr>
            <p:nvPr/>
          </p:nvSpPr>
          <p:spPr bwMode="gray">
            <a:xfrm flipH="1">
              <a:off x="610641" y="2907990"/>
              <a:ext cx="99291" cy="53721"/>
            </a:xfrm>
            <a:custGeom>
              <a:avLst/>
              <a:gdLst>
                <a:gd name="T0" fmla="*/ 2147483647 w 94"/>
                <a:gd name="T1" fmla="*/ 2147483647 h 50"/>
                <a:gd name="T2" fmla="*/ 2147483647 w 94"/>
                <a:gd name="T3" fmla="*/ 2147483647 h 50"/>
                <a:gd name="T4" fmla="*/ 2147483647 w 94"/>
                <a:gd name="T5" fmla="*/ 2147483647 h 50"/>
                <a:gd name="T6" fmla="*/ 2147483647 w 94"/>
                <a:gd name="T7" fmla="*/ 2147483647 h 50"/>
                <a:gd name="T8" fmla="*/ 2147483647 w 94"/>
                <a:gd name="T9" fmla="*/ 2147483647 h 50"/>
                <a:gd name="T10" fmla="*/ 2147483647 w 94"/>
                <a:gd name="T11" fmla="*/ 2147483647 h 50"/>
                <a:gd name="T12" fmla="*/ 2147483647 w 94"/>
                <a:gd name="T13" fmla="*/ 2147483647 h 50"/>
                <a:gd name="T14" fmla="*/ 2147483647 w 94"/>
                <a:gd name="T15" fmla="*/ 2147483647 h 50"/>
                <a:gd name="T16" fmla="*/ 2147483647 w 94"/>
                <a:gd name="T17" fmla="*/ 2147483647 h 50"/>
                <a:gd name="T18" fmla="*/ 2147483647 w 94"/>
                <a:gd name="T19" fmla="*/ 2147483647 h 50"/>
                <a:gd name="T20" fmla="*/ 2147483647 w 94"/>
                <a:gd name="T21" fmla="*/ 2147483647 h 50"/>
                <a:gd name="T22" fmla="*/ 2147483647 w 94"/>
                <a:gd name="T23" fmla="*/ 2147483647 h 50"/>
                <a:gd name="T24" fmla="*/ 2147483647 w 94"/>
                <a:gd name="T25" fmla="*/ 2147483647 h 50"/>
                <a:gd name="T26" fmla="*/ 2147483647 w 94"/>
                <a:gd name="T27" fmla="*/ 2147483647 h 50"/>
                <a:gd name="T28" fmla="*/ 2147483647 w 94"/>
                <a:gd name="T29" fmla="*/ 2147483647 h 50"/>
                <a:gd name="T30" fmla="*/ 2147483647 w 94"/>
                <a:gd name="T31" fmla="*/ 2147483647 h 50"/>
                <a:gd name="T32" fmla="*/ 0 w 94"/>
                <a:gd name="T33" fmla="*/ 2147483647 h 50"/>
                <a:gd name="T34" fmla="*/ 2147483647 w 94"/>
                <a:gd name="T35" fmla="*/ 2147483647 h 50"/>
                <a:gd name="T36" fmla="*/ 2147483647 w 94"/>
                <a:gd name="T37" fmla="*/ 2147483647 h 50"/>
                <a:gd name="T38" fmla="*/ 2147483647 w 94"/>
                <a:gd name="T39" fmla="*/ 2147483647 h 50"/>
                <a:gd name="T40" fmla="*/ 2147483647 w 94"/>
                <a:gd name="T41" fmla="*/ 2147483647 h 50"/>
                <a:gd name="T42" fmla="*/ 2147483647 w 94"/>
                <a:gd name="T43" fmla="*/ 2147483647 h 50"/>
                <a:gd name="T44" fmla="*/ 2147483647 w 94"/>
                <a:gd name="T45" fmla="*/ 2147483647 h 50"/>
                <a:gd name="T46" fmla="*/ 2147483647 w 94"/>
                <a:gd name="T47" fmla="*/ 2147483647 h 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4"/>
                <a:gd name="T73" fmla="*/ 0 h 50"/>
                <a:gd name="T74" fmla="*/ 94 w 94"/>
                <a:gd name="T75" fmla="*/ 50 h 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4" h="50">
                  <a:moveTo>
                    <a:pt x="54" y="1"/>
                  </a:moveTo>
                  <a:cubicBezTo>
                    <a:pt x="52" y="1"/>
                    <a:pt x="51" y="1"/>
                    <a:pt x="49" y="1"/>
                  </a:cubicBezTo>
                  <a:cubicBezTo>
                    <a:pt x="49" y="1"/>
                    <a:pt x="48" y="1"/>
                    <a:pt x="48" y="1"/>
                  </a:cubicBezTo>
                  <a:cubicBezTo>
                    <a:pt x="47" y="2"/>
                    <a:pt x="46" y="2"/>
                    <a:pt x="44" y="2"/>
                  </a:cubicBezTo>
                  <a:cubicBezTo>
                    <a:pt x="44" y="2"/>
                    <a:pt x="44" y="2"/>
                    <a:pt x="43" y="3"/>
                  </a:cubicBezTo>
                  <a:cubicBezTo>
                    <a:pt x="42" y="3"/>
                    <a:pt x="41" y="3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7" y="5"/>
                    <a:pt x="36" y="6"/>
                    <a:pt x="35" y="6"/>
                  </a:cubicBezTo>
                  <a:cubicBezTo>
                    <a:pt x="35" y="6"/>
                    <a:pt x="35" y="7"/>
                    <a:pt x="34" y="7"/>
                  </a:cubicBezTo>
                  <a:cubicBezTo>
                    <a:pt x="33" y="7"/>
                    <a:pt x="32" y="8"/>
                    <a:pt x="31" y="9"/>
                  </a:cubicBezTo>
                  <a:cubicBezTo>
                    <a:pt x="31" y="9"/>
                    <a:pt x="31" y="9"/>
                    <a:pt x="30" y="10"/>
                  </a:cubicBezTo>
                  <a:cubicBezTo>
                    <a:pt x="27" y="13"/>
                    <a:pt x="24" y="16"/>
                    <a:pt x="21" y="2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2"/>
                    <a:pt x="20" y="22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7" y="27"/>
                    <a:pt x="3" y="32"/>
                    <a:pt x="0" y="35"/>
                  </a:cubicBezTo>
                  <a:cubicBezTo>
                    <a:pt x="2" y="32"/>
                    <a:pt x="6" y="33"/>
                    <a:pt x="10" y="34"/>
                  </a:cubicBezTo>
                  <a:cubicBezTo>
                    <a:pt x="12" y="34"/>
                    <a:pt x="14" y="35"/>
                    <a:pt x="16" y="36"/>
                  </a:cubicBezTo>
                  <a:cubicBezTo>
                    <a:pt x="18" y="36"/>
                    <a:pt x="19" y="37"/>
                    <a:pt x="20" y="37"/>
                  </a:cubicBezTo>
                  <a:cubicBezTo>
                    <a:pt x="27" y="41"/>
                    <a:pt x="34" y="50"/>
                    <a:pt x="40" y="48"/>
                  </a:cubicBezTo>
                  <a:cubicBezTo>
                    <a:pt x="40" y="48"/>
                    <a:pt x="51" y="40"/>
                    <a:pt x="57" y="40"/>
                  </a:cubicBezTo>
                  <a:cubicBezTo>
                    <a:pt x="84" y="41"/>
                    <a:pt x="94" y="34"/>
                    <a:pt x="94" y="34"/>
                  </a:cubicBezTo>
                  <a:cubicBezTo>
                    <a:pt x="92" y="14"/>
                    <a:pt x="74" y="0"/>
                    <a:pt x="54" y="1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</p:grpSp>
      <p:grpSp>
        <p:nvGrpSpPr>
          <p:cNvPr id="11" name="Group 214"/>
          <p:cNvGrpSpPr>
            <a:grpSpLocks/>
          </p:cNvGrpSpPr>
          <p:nvPr/>
        </p:nvGrpSpPr>
        <p:grpSpPr bwMode="auto">
          <a:xfrm>
            <a:off x="539750" y="2908300"/>
            <a:ext cx="204788" cy="503238"/>
            <a:chOff x="543930" y="2907990"/>
            <a:chExt cx="204788" cy="503237"/>
          </a:xfrm>
        </p:grpSpPr>
        <p:sp>
          <p:nvSpPr>
            <p:cNvPr id="12348" name="Freeform 581"/>
            <p:cNvSpPr>
              <a:spLocks noChangeAspect="1"/>
            </p:cNvSpPr>
            <p:nvPr/>
          </p:nvSpPr>
          <p:spPr bwMode="gray">
            <a:xfrm flipH="1">
              <a:off x="604435" y="3151314"/>
              <a:ext cx="93861" cy="259913"/>
            </a:xfrm>
            <a:custGeom>
              <a:avLst/>
              <a:gdLst>
                <a:gd name="T0" fmla="*/ 2147483647 w 90"/>
                <a:gd name="T1" fmla="*/ 2147483647 h 245"/>
                <a:gd name="T2" fmla="*/ 2147483647 w 90"/>
                <a:gd name="T3" fmla="*/ 2147483647 h 245"/>
                <a:gd name="T4" fmla="*/ 2147483647 w 90"/>
                <a:gd name="T5" fmla="*/ 2147483647 h 245"/>
                <a:gd name="T6" fmla="*/ 2147483647 w 90"/>
                <a:gd name="T7" fmla="*/ 2147483647 h 245"/>
                <a:gd name="T8" fmla="*/ 2147483647 w 90"/>
                <a:gd name="T9" fmla="*/ 2147483647 h 245"/>
                <a:gd name="T10" fmla="*/ 2147483647 w 90"/>
                <a:gd name="T11" fmla="*/ 0 h 245"/>
                <a:gd name="T12" fmla="*/ 2147483647 w 90"/>
                <a:gd name="T13" fmla="*/ 2147483647 h 245"/>
                <a:gd name="T14" fmla="*/ 2147483647 w 90"/>
                <a:gd name="T15" fmla="*/ 2147483647 h 245"/>
                <a:gd name="T16" fmla="*/ 2147483647 w 90"/>
                <a:gd name="T17" fmla="*/ 2147483647 h 245"/>
                <a:gd name="T18" fmla="*/ 2147483647 w 90"/>
                <a:gd name="T19" fmla="*/ 2147483647 h 245"/>
                <a:gd name="T20" fmla="*/ 2147483647 w 90"/>
                <a:gd name="T21" fmla="*/ 2147483647 h 245"/>
                <a:gd name="T22" fmla="*/ 2147483647 w 90"/>
                <a:gd name="T23" fmla="*/ 2147483647 h 245"/>
                <a:gd name="T24" fmla="*/ 2147483647 w 90"/>
                <a:gd name="T25" fmla="*/ 2147483647 h 245"/>
                <a:gd name="T26" fmla="*/ 2147483647 w 90"/>
                <a:gd name="T27" fmla="*/ 2147483647 h 245"/>
                <a:gd name="T28" fmla="*/ 2147483647 w 90"/>
                <a:gd name="T29" fmla="*/ 2147483647 h 245"/>
                <a:gd name="T30" fmla="*/ 2147483647 w 90"/>
                <a:gd name="T31" fmla="*/ 2147483647 h 2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0"/>
                <a:gd name="T49" fmla="*/ 0 h 245"/>
                <a:gd name="T50" fmla="*/ 90 w 90"/>
                <a:gd name="T51" fmla="*/ 245 h 24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0" h="245">
                  <a:moveTo>
                    <a:pt x="89" y="156"/>
                  </a:moveTo>
                  <a:cubicBezTo>
                    <a:pt x="89" y="140"/>
                    <a:pt x="90" y="47"/>
                    <a:pt x="90" y="7"/>
                  </a:cubicBezTo>
                  <a:cubicBezTo>
                    <a:pt x="89" y="6"/>
                    <a:pt x="89" y="6"/>
                    <a:pt x="89" y="5"/>
                  </a:cubicBezTo>
                  <a:cubicBezTo>
                    <a:pt x="87" y="16"/>
                    <a:pt x="71" y="22"/>
                    <a:pt x="63" y="20"/>
                  </a:cubicBezTo>
                  <a:cubicBezTo>
                    <a:pt x="55" y="19"/>
                    <a:pt x="24" y="13"/>
                    <a:pt x="12" y="10"/>
                  </a:cubicBezTo>
                  <a:cubicBezTo>
                    <a:pt x="6" y="9"/>
                    <a:pt x="4" y="4"/>
                    <a:pt x="3" y="0"/>
                  </a:cubicBezTo>
                  <a:cubicBezTo>
                    <a:pt x="2" y="18"/>
                    <a:pt x="3" y="32"/>
                    <a:pt x="3" y="36"/>
                  </a:cubicBezTo>
                  <a:cubicBezTo>
                    <a:pt x="3" y="49"/>
                    <a:pt x="0" y="181"/>
                    <a:pt x="2" y="205"/>
                  </a:cubicBezTo>
                  <a:cubicBezTo>
                    <a:pt x="3" y="228"/>
                    <a:pt x="43" y="224"/>
                    <a:pt x="44" y="204"/>
                  </a:cubicBezTo>
                  <a:cubicBezTo>
                    <a:pt x="43" y="170"/>
                    <a:pt x="46" y="55"/>
                    <a:pt x="45" y="51"/>
                  </a:cubicBezTo>
                  <a:cubicBezTo>
                    <a:pt x="45" y="47"/>
                    <a:pt x="36" y="46"/>
                    <a:pt x="36" y="39"/>
                  </a:cubicBezTo>
                  <a:cubicBezTo>
                    <a:pt x="36" y="46"/>
                    <a:pt x="45" y="47"/>
                    <a:pt x="45" y="51"/>
                  </a:cubicBezTo>
                  <a:cubicBezTo>
                    <a:pt x="46" y="55"/>
                    <a:pt x="43" y="170"/>
                    <a:pt x="44" y="204"/>
                  </a:cubicBezTo>
                  <a:cubicBezTo>
                    <a:pt x="44" y="206"/>
                    <a:pt x="44" y="211"/>
                    <a:pt x="44" y="211"/>
                  </a:cubicBezTo>
                  <a:cubicBezTo>
                    <a:pt x="46" y="245"/>
                    <a:pt x="87" y="235"/>
                    <a:pt x="88" y="218"/>
                  </a:cubicBezTo>
                  <a:cubicBezTo>
                    <a:pt x="90" y="201"/>
                    <a:pt x="88" y="171"/>
                    <a:pt x="89" y="156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56" name="Freeform 582"/>
            <p:cNvSpPr>
              <a:spLocks noChangeAspect="1"/>
            </p:cNvSpPr>
            <p:nvPr/>
          </p:nvSpPr>
          <p:spPr bwMode="gray">
            <a:xfrm flipH="1">
              <a:off x="543930" y="2976253"/>
              <a:ext cx="204788" cy="244475"/>
            </a:xfrm>
            <a:custGeom>
              <a:avLst/>
              <a:gdLst/>
              <a:ahLst/>
              <a:cxnLst>
                <a:cxn ang="0">
                  <a:pos x="192" y="194"/>
                </a:cxn>
                <a:cxn ang="0">
                  <a:pos x="169" y="49"/>
                </a:cxn>
                <a:cxn ang="0">
                  <a:pos x="143" y="24"/>
                </a:cxn>
                <a:cxn ang="0">
                  <a:pos x="100" y="12"/>
                </a:cxn>
                <a:cxn ang="0">
                  <a:pos x="60" y="2"/>
                </a:cxn>
                <a:cxn ang="0">
                  <a:pos x="30" y="11"/>
                </a:cxn>
                <a:cxn ang="0">
                  <a:pos x="4" y="159"/>
                </a:cxn>
                <a:cxn ang="0">
                  <a:pos x="36" y="168"/>
                </a:cxn>
                <a:cxn ang="0">
                  <a:pos x="54" y="47"/>
                </a:cxn>
                <a:cxn ang="0">
                  <a:pos x="53" y="164"/>
                </a:cxn>
                <a:cxn ang="0">
                  <a:pos x="62" y="174"/>
                </a:cxn>
                <a:cxn ang="0">
                  <a:pos x="113" y="188"/>
                </a:cxn>
                <a:cxn ang="0">
                  <a:pos x="140" y="169"/>
                </a:cxn>
                <a:cxn ang="0">
                  <a:pos x="140" y="169"/>
                </a:cxn>
                <a:cxn ang="0">
                  <a:pos x="138" y="87"/>
                </a:cxn>
                <a:cxn ang="0">
                  <a:pos x="136" y="70"/>
                </a:cxn>
                <a:cxn ang="0">
                  <a:pos x="136" y="69"/>
                </a:cxn>
                <a:cxn ang="0">
                  <a:pos x="136" y="70"/>
                </a:cxn>
                <a:cxn ang="0">
                  <a:pos x="138" y="87"/>
                </a:cxn>
                <a:cxn ang="0">
                  <a:pos x="159" y="203"/>
                </a:cxn>
                <a:cxn ang="0">
                  <a:pos x="192" y="194"/>
                </a:cxn>
              </a:cxnLst>
              <a:rect l="0" t="0" r="r" b="b"/>
              <a:pathLst>
                <a:path w="198" h="231">
                  <a:moveTo>
                    <a:pt x="192" y="194"/>
                  </a:moveTo>
                  <a:cubicBezTo>
                    <a:pt x="189" y="184"/>
                    <a:pt x="172" y="67"/>
                    <a:pt x="169" y="49"/>
                  </a:cubicBezTo>
                  <a:cubicBezTo>
                    <a:pt x="166" y="32"/>
                    <a:pt x="151" y="26"/>
                    <a:pt x="143" y="24"/>
                  </a:cubicBezTo>
                  <a:cubicBezTo>
                    <a:pt x="135" y="21"/>
                    <a:pt x="113" y="16"/>
                    <a:pt x="100" y="12"/>
                  </a:cubicBezTo>
                  <a:cubicBezTo>
                    <a:pt x="88" y="9"/>
                    <a:pt x="69" y="3"/>
                    <a:pt x="60" y="2"/>
                  </a:cubicBezTo>
                  <a:cubicBezTo>
                    <a:pt x="51" y="0"/>
                    <a:pt x="33" y="3"/>
                    <a:pt x="30" y="11"/>
                  </a:cubicBezTo>
                  <a:cubicBezTo>
                    <a:pt x="28" y="17"/>
                    <a:pt x="8" y="139"/>
                    <a:pt x="4" y="159"/>
                  </a:cubicBezTo>
                  <a:cubicBezTo>
                    <a:pt x="0" y="180"/>
                    <a:pt x="31" y="184"/>
                    <a:pt x="36" y="168"/>
                  </a:cubicBezTo>
                  <a:cubicBezTo>
                    <a:pt x="40" y="157"/>
                    <a:pt x="55" y="38"/>
                    <a:pt x="54" y="47"/>
                  </a:cubicBezTo>
                  <a:cubicBezTo>
                    <a:pt x="54" y="53"/>
                    <a:pt x="53" y="121"/>
                    <a:pt x="53" y="164"/>
                  </a:cubicBezTo>
                  <a:cubicBezTo>
                    <a:pt x="54" y="169"/>
                    <a:pt x="56" y="173"/>
                    <a:pt x="62" y="174"/>
                  </a:cubicBezTo>
                  <a:cubicBezTo>
                    <a:pt x="74" y="177"/>
                    <a:pt x="106" y="187"/>
                    <a:pt x="113" y="188"/>
                  </a:cubicBezTo>
                  <a:cubicBezTo>
                    <a:pt x="121" y="190"/>
                    <a:pt x="137" y="180"/>
                    <a:pt x="140" y="169"/>
                  </a:cubicBezTo>
                  <a:cubicBezTo>
                    <a:pt x="140" y="169"/>
                    <a:pt x="140" y="169"/>
                    <a:pt x="140" y="169"/>
                  </a:cubicBezTo>
                  <a:cubicBezTo>
                    <a:pt x="140" y="141"/>
                    <a:pt x="140" y="110"/>
                    <a:pt x="138" y="87"/>
                  </a:cubicBezTo>
                  <a:cubicBezTo>
                    <a:pt x="137" y="78"/>
                    <a:pt x="137" y="73"/>
                    <a:pt x="136" y="70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6" y="69"/>
                    <a:pt x="136" y="69"/>
                    <a:pt x="136" y="70"/>
                  </a:cubicBezTo>
                  <a:cubicBezTo>
                    <a:pt x="137" y="75"/>
                    <a:pt x="138" y="81"/>
                    <a:pt x="138" y="87"/>
                  </a:cubicBezTo>
                  <a:cubicBezTo>
                    <a:pt x="141" y="109"/>
                    <a:pt x="148" y="149"/>
                    <a:pt x="159" y="203"/>
                  </a:cubicBezTo>
                  <a:cubicBezTo>
                    <a:pt x="165" y="231"/>
                    <a:pt x="198" y="218"/>
                    <a:pt x="192" y="194"/>
                  </a:cubicBezTo>
                </a:path>
              </a:pathLst>
            </a:custGeom>
            <a:gradFill rotWithShape="1">
              <a:gsLst>
                <a:gs pos="0">
                  <a:schemeClr val="bg1"/>
                </a:gs>
                <a:gs pos="50000">
                  <a:schemeClr val="bg1">
                    <a:gamma/>
                    <a:shade val="85882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893014">
                <a:defRPr/>
              </a:pPr>
              <a:endParaRPr lang="en-CA" sz="17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50" name="Freeform 583"/>
            <p:cNvSpPr>
              <a:spLocks noChangeAspect="1"/>
            </p:cNvSpPr>
            <p:nvPr/>
          </p:nvSpPr>
          <p:spPr bwMode="gray">
            <a:xfrm flipH="1">
              <a:off x="604435" y="2982251"/>
              <a:ext cx="91534" cy="199083"/>
            </a:xfrm>
            <a:custGeom>
              <a:avLst/>
              <a:gdLst>
                <a:gd name="T0" fmla="*/ 2147483647 w 87"/>
                <a:gd name="T1" fmla="*/ 2147483647 h 185"/>
                <a:gd name="T2" fmla="*/ 2147483647 w 87"/>
                <a:gd name="T3" fmla="*/ 2147483647 h 185"/>
                <a:gd name="T4" fmla="*/ 2147483647 w 87"/>
                <a:gd name="T5" fmla="*/ 2147483647 h 185"/>
                <a:gd name="T6" fmla="*/ 2147483647 w 87"/>
                <a:gd name="T7" fmla="*/ 2147483647 h 185"/>
                <a:gd name="T8" fmla="*/ 2147483647 w 87"/>
                <a:gd name="T9" fmla="*/ 2147483647 h 185"/>
                <a:gd name="T10" fmla="*/ 2147483647 w 87"/>
                <a:gd name="T11" fmla="*/ 2147483647 h 185"/>
                <a:gd name="T12" fmla="*/ 2147483647 w 87"/>
                <a:gd name="T13" fmla="*/ 2147483647 h 185"/>
                <a:gd name="T14" fmla="*/ 2147483647 w 87"/>
                <a:gd name="T15" fmla="*/ 2147483647 h 185"/>
                <a:gd name="T16" fmla="*/ 2147483647 w 87"/>
                <a:gd name="T17" fmla="*/ 2147483647 h 185"/>
                <a:gd name="T18" fmla="*/ 2147483647 w 87"/>
                <a:gd name="T19" fmla="*/ 2147483647 h 185"/>
                <a:gd name="T20" fmla="*/ 2147483647 w 87"/>
                <a:gd name="T21" fmla="*/ 2147483647 h 185"/>
                <a:gd name="T22" fmla="*/ 2147483647 w 87"/>
                <a:gd name="T23" fmla="*/ 0 h 185"/>
                <a:gd name="T24" fmla="*/ 2147483647 w 87"/>
                <a:gd name="T25" fmla="*/ 2147483647 h 185"/>
                <a:gd name="T26" fmla="*/ 2147483647 w 87"/>
                <a:gd name="T27" fmla="*/ 2147483647 h 185"/>
                <a:gd name="T28" fmla="*/ 2147483647 w 87"/>
                <a:gd name="T29" fmla="*/ 2147483647 h 185"/>
                <a:gd name="T30" fmla="*/ 0 w 87"/>
                <a:gd name="T31" fmla="*/ 2147483647 h 185"/>
                <a:gd name="T32" fmla="*/ 2147483647 w 87"/>
                <a:gd name="T33" fmla="*/ 2147483647 h 185"/>
                <a:gd name="T34" fmla="*/ 2147483647 w 87"/>
                <a:gd name="T35" fmla="*/ 2147483647 h 185"/>
                <a:gd name="T36" fmla="*/ 2147483647 w 87"/>
                <a:gd name="T37" fmla="*/ 2147483647 h 185"/>
                <a:gd name="T38" fmla="*/ 2147483647 w 87"/>
                <a:gd name="T39" fmla="*/ 2147483647 h 1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7"/>
                <a:gd name="T61" fmla="*/ 0 h 185"/>
                <a:gd name="T62" fmla="*/ 87 w 87"/>
                <a:gd name="T63" fmla="*/ 185 h 18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7" h="185">
                  <a:moveTo>
                    <a:pt x="87" y="103"/>
                  </a:moveTo>
                  <a:cubicBezTo>
                    <a:pt x="84" y="113"/>
                    <a:pt x="72" y="121"/>
                    <a:pt x="63" y="122"/>
                  </a:cubicBezTo>
                  <a:cubicBezTo>
                    <a:pt x="63" y="122"/>
                    <a:pt x="63" y="122"/>
                    <a:pt x="63" y="122"/>
                  </a:cubicBezTo>
                  <a:cubicBezTo>
                    <a:pt x="63" y="122"/>
                    <a:pt x="63" y="51"/>
                    <a:pt x="63" y="41"/>
                  </a:cubicBezTo>
                  <a:cubicBezTo>
                    <a:pt x="63" y="30"/>
                    <a:pt x="71" y="15"/>
                    <a:pt x="76" y="15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58" y="12"/>
                    <a:pt x="50" y="26"/>
                    <a:pt x="49" y="37"/>
                  </a:cubicBezTo>
                  <a:cubicBezTo>
                    <a:pt x="48" y="49"/>
                    <a:pt x="49" y="118"/>
                    <a:pt x="49" y="118"/>
                  </a:cubicBezTo>
                  <a:cubicBezTo>
                    <a:pt x="40" y="116"/>
                    <a:pt x="28" y="112"/>
                    <a:pt x="19" y="110"/>
                  </a:cubicBezTo>
                  <a:cubicBezTo>
                    <a:pt x="18" y="108"/>
                    <a:pt x="18" y="39"/>
                    <a:pt x="18" y="29"/>
                  </a:cubicBezTo>
                  <a:cubicBezTo>
                    <a:pt x="18" y="18"/>
                    <a:pt x="27" y="3"/>
                    <a:pt x="31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7" y="15"/>
                    <a:pt x="6" y="26"/>
                  </a:cubicBezTo>
                  <a:cubicBezTo>
                    <a:pt x="5" y="37"/>
                    <a:pt x="6" y="100"/>
                    <a:pt x="6" y="107"/>
                  </a:cubicBezTo>
                  <a:cubicBezTo>
                    <a:pt x="3" y="105"/>
                    <a:pt x="2" y="102"/>
                    <a:pt x="1" y="99"/>
                  </a:cubicBezTo>
                  <a:cubicBezTo>
                    <a:pt x="0" y="119"/>
                    <a:pt x="0" y="141"/>
                    <a:pt x="0" y="159"/>
                  </a:cubicBezTo>
                  <a:cubicBezTo>
                    <a:pt x="1" y="164"/>
                    <a:pt x="4" y="169"/>
                    <a:pt x="10" y="170"/>
                  </a:cubicBezTo>
                  <a:cubicBezTo>
                    <a:pt x="22" y="172"/>
                    <a:pt x="53" y="182"/>
                    <a:pt x="61" y="184"/>
                  </a:cubicBezTo>
                  <a:cubicBezTo>
                    <a:pt x="69" y="185"/>
                    <a:pt x="85" y="176"/>
                    <a:pt x="87" y="164"/>
                  </a:cubicBezTo>
                  <a:cubicBezTo>
                    <a:pt x="87" y="144"/>
                    <a:pt x="87" y="123"/>
                    <a:pt x="87" y="103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51" name="Freeform 584"/>
            <p:cNvSpPr>
              <a:spLocks noChangeAspect="1"/>
            </p:cNvSpPr>
            <p:nvPr/>
          </p:nvSpPr>
          <p:spPr bwMode="gray">
            <a:xfrm flipH="1">
              <a:off x="615295" y="2964081"/>
              <a:ext cx="68263" cy="43450"/>
            </a:xfrm>
            <a:custGeom>
              <a:avLst/>
              <a:gdLst>
                <a:gd name="T0" fmla="*/ 2147483647 w 66"/>
                <a:gd name="T1" fmla="*/ 2147483647 h 41"/>
                <a:gd name="T2" fmla="*/ 2147483647 w 66"/>
                <a:gd name="T3" fmla="*/ 2147483647 h 41"/>
                <a:gd name="T4" fmla="*/ 2147483647 w 66"/>
                <a:gd name="T5" fmla="*/ 2147483647 h 41"/>
                <a:gd name="T6" fmla="*/ 2147483647 w 66"/>
                <a:gd name="T7" fmla="*/ 2147483647 h 41"/>
                <a:gd name="T8" fmla="*/ 2147483647 w 66"/>
                <a:gd name="T9" fmla="*/ 2147483647 h 41"/>
                <a:gd name="T10" fmla="*/ 2147483647 w 66"/>
                <a:gd name="T11" fmla="*/ 2147483647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6"/>
                <a:gd name="T19" fmla="*/ 0 h 41"/>
                <a:gd name="T20" fmla="*/ 66 w 66"/>
                <a:gd name="T21" fmla="*/ 41 h 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6" h="41">
                  <a:moveTo>
                    <a:pt x="29" y="39"/>
                  </a:moveTo>
                  <a:cubicBezTo>
                    <a:pt x="14" y="37"/>
                    <a:pt x="0" y="25"/>
                    <a:pt x="9" y="23"/>
                  </a:cubicBezTo>
                  <a:cubicBezTo>
                    <a:pt x="16" y="21"/>
                    <a:pt x="13" y="16"/>
                    <a:pt x="15" y="13"/>
                  </a:cubicBezTo>
                  <a:cubicBezTo>
                    <a:pt x="18" y="10"/>
                    <a:pt x="53" y="0"/>
                    <a:pt x="53" y="16"/>
                  </a:cubicBezTo>
                  <a:cubicBezTo>
                    <a:pt x="53" y="21"/>
                    <a:pt x="47" y="25"/>
                    <a:pt x="57" y="30"/>
                  </a:cubicBezTo>
                  <a:cubicBezTo>
                    <a:pt x="66" y="33"/>
                    <a:pt x="46" y="41"/>
                    <a:pt x="29" y="39"/>
                  </a:cubicBezTo>
                  <a:close/>
                </a:path>
              </a:pathLst>
            </a:custGeom>
            <a:solidFill>
              <a:srgbClr val="FFFFFF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12352" name="Oval 585"/>
            <p:cNvSpPr>
              <a:spLocks noChangeAspect="1" noChangeArrowheads="1"/>
            </p:cNvSpPr>
            <p:nvPr/>
          </p:nvSpPr>
          <p:spPr bwMode="gray">
            <a:xfrm>
              <a:off x="610641" y="2909570"/>
              <a:ext cx="82225" cy="82951"/>
            </a:xfrm>
            <a:prstGeom prst="ellipse">
              <a:avLst/>
            </a:prstGeom>
            <a:solidFill>
              <a:schemeClr val="bg1"/>
            </a:solidFill>
            <a:ln w="6350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defTabSz="892175">
                <a:spcBef>
                  <a:spcPct val="0"/>
                </a:spcBef>
              </a:pPr>
              <a:endParaRPr lang="en-CA" sz="170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2353" name="Freeform 586"/>
            <p:cNvSpPr>
              <a:spLocks noChangeAspect="1"/>
            </p:cNvSpPr>
            <p:nvPr/>
          </p:nvSpPr>
          <p:spPr bwMode="gray">
            <a:xfrm flipH="1">
              <a:off x="610641" y="2907990"/>
              <a:ext cx="99291" cy="53721"/>
            </a:xfrm>
            <a:custGeom>
              <a:avLst/>
              <a:gdLst>
                <a:gd name="T0" fmla="*/ 2147483647 w 94"/>
                <a:gd name="T1" fmla="*/ 2147483647 h 50"/>
                <a:gd name="T2" fmla="*/ 2147483647 w 94"/>
                <a:gd name="T3" fmla="*/ 2147483647 h 50"/>
                <a:gd name="T4" fmla="*/ 2147483647 w 94"/>
                <a:gd name="T5" fmla="*/ 2147483647 h 50"/>
                <a:gd name="T6" fmla="*/ 2147483647 w 94"/>
                <a:gd name="T7" fmla="*/ 2147483647 h 50"/>
                <a:gd name="T8" fmla="*/ 2147483647 w 94"/>
                <a:gd name="T9" fmla="*/ 2147483647 h 50"/>
                <a:gd name="T10" fmla="*/ 2147483647 w 94"/>
                <a:gd name="T11" fmla="*/ 2147483647 h 50"/>
                <a:gd name="T12" fmla="*/ 2147483647 w 94"/>
                <a:gd name="T13" fmla="*/ 2147483647 h 50"/>
                <a:gd name="T14" fmla="*/ 2147483647 w 94"/>
                <a:gd name="T15" fmla="*/ 2147483647 h 50"/>
                <a:gd name="T16" fmla="*/ 2147483647 w 94"/>
                <a:gd name="T17" fmla="*/ 2147483647 h 50"/>
                <a:gd name="T18" fmla="*/ 2147483647 w 94"/>
                <a:gd name="T19" fmla="*/ 2147483647 h 50"/>
                <a:gd name="T20" fmla="*/ 2147483647 w 94"/>
                <a:gd name="T21" fmla="*/ 2147483647 h 50"/>
                <a:gd name="T22" fmla="*/ 2147483647 w 94"/>
                <a:gd name="T23" fmla="*/ 2147483647 h 50"/>
                <a:gd name="T24" fmla="*/ 2147483647 w 94"/>
                <a:gd name="T25" fmla="*/ 2147483647 h 50"/>
                <a:gd name="T26" fmla="*/ 2147483647 w 94"/>
                <a:gd name="T27" fmla="*/ 2147483647 h 50"/>
                <a:gd name="T28" fmla="*/ 2147483647 w 94"/>
                <a:gd name="T29" fmla="*/ 2147483647 h 50"/>
                <a:gd name="T30" fmla="*/ 2147483647 w 94"/>
                <a:gd name="T31" fmla="*/ 2147483647 h 50"/>
                <a:gd name="T32" fmla="*/ 0 w 94"/>
                <a:gd name="T33" fmla="*/ 2147483647 h 50"/>
                <a:gd name="T34" fmla="*/ 2147483647 w 94"/>
                <a:gd name="T35" fmla="*/ 2147483647 h 50"/>
                <a:gd name="T36" fmla="*/ 2147483647 w 94"/>
                <a:gd name="T37" fmla="*/ 2147483647 h 50"/>
                <a:gd name="T38" fmla="*/ 2147483647 w 94"/>
                <a:gd name="T39" fmla="*/ 2147483647 h 50"/>
                <a:gd name="T40" fmla="*/ 2147483647 w 94"/>
                <a:gd name="T41" fmla="*/ 2147483647 h 50"/>
                <a:gd name="T42" fmla="*/ 2147483647 w 94"/>
                <a:gd name="T43" fmla="*/ 2147483647 h 50"/>
                <a:gd name="T44" fmla="*/ 2147483647 w 94"/>
                <a:gd name="T45" fmla="*/ 2147483647 h 50"/>
                <a:gd name="T46" fmla="*/ 2147483647 w 94"/>
                <a:gd name="T47" fmla="*/ 2147483647 h 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4"/>
                <a:gd name="T73" fmla="*/ 0 h 50"/>
                <a:gd name="T74" fmla="*/ 94 w 94"/>
                <a:gd name="T75" fmla="*/ 50 h 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4" h="50">
                  <a:moveTo>
                    <a:pt x="54" y="1"/>
                  </a:moveTo>
                  <a:cubicBezTo>
                    <a:pt x="52" y="1"/>
                    <a:pt x="51" y="1"/>
                    <a:pt x="49" y="1"/>
                  </a:cubicBezTo>
                  <a:cubicBezTo>
                    <a:pt x="49" y="1"/>
                    <a:pt x="48" y="1"/>
                    <a:pt x="48" y="1"/>
                  </a:cubicBezTo>
                  <a:cubicBezTo>
                    <a:pt x="47" y="2"/>
                    <a:pt x="46" y="2"/>
                    <a:pt x="44" y="2"/>
                  </a:cubicBezTo>
                  <a:cubicBezTo>
                    <a:pt x="44" y="2"/>
                    <a:pt x="44" y="2"/>
                    <a:pt x="43" y="3"/>
                  </a:cubicBezTo>
                  <a:cubicBezTo>
                    <a:pt x="42" y="3"/>
                    <a:pt x="41" y="3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7" y="5"/>
                    <a:pt x="36" y="6"/>
                    <a:pt x="35" y="6"/>
                  </a:cubicBezTo>
                  <a:cubicBezTo>
                    <a:pt x="35" y="6"/>
                    <a:pt x="35" y="7"/>
                    <a:pt x="34" y="7"/>
                  </a:cubicBezTo>
                  <a:cubicBezTo>
                    <a:pt x="33" y="7"/>
                    <a:pt x="32" y="8"/>
                    <a:pt x="31" y="9"/>
                  </a:cubicBezTo>
                  <a:cubicBezTo>
                    <a:pt x="31" y="9"/>
                    <a:pt x="31" y="9"/>
                    <a:pt x="30" y="10"/>
                  </a:cubicBezTo>
                  <a:cubicBezTo>
                    <a:pt x="27" y="13"/>
                    <a:pt x="24" y="16"/>
                    <a:pt x="21" y="2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2"/>
                    <a:pt x="20" y="22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7" y="27"/>
                    <a:pt x="3" y="32"/>
                    <a:pt x="0" y="35"/>
                  </a:cubicBezTo>
                  <a:cubicBezTo>
                    <a:pt x="2" y="32"/>
                    <a:pt x="6" y="33"/>
                    <a:pt x="10" y="34"/>
                  </a:cubicBezTo>
                  <a:cubicBezTo>
                    <a:pt x="12" y="34"/>
                    <a:pt x="14" y="35"/>
                    <a:pt x="16" y="36"/>
                  </a:cubicBezTo>
                  <a:cubicBezTo>
                    <a:pt x="18" y="36"/>
                    <a:pt x="19" y="37"/>
                    <a:pt x="20" y="37"/>
                  </a:cubicBezTo>
                  <a:cubicBezTo>
                    <a:pt x="27" y="41"/>
                    <a:pt x="34" y="50"/>
                    <a:pt x="40" y="48"/>
                  </a:cubicBezTo>
                  <a:cubicBezTo>
                    <a:pt x="40" y="48"/>
                    <a:pt x="51" y="40"/>
                    <a:pt x="57" y="40"/>
                  </a:cubicBezTo>
                  <a:cubicBezTo>
                    <a:pt x="84" y="41"/>
                    <a:pt x="94" y="34"/>
                    <a:pt x="94" y="34"/>
                  </a:cubicBezTo>
                  <a:cubicBezTo>
                    <a:pt x="92" y="14"/>
                    <a:pt x="74" y="0"/>
                    <a:pt x="54" y="1"/>
                  </a:cubicBez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</p:grpSp>
      <p:sp>
        <p:nvSpPr>
          <p:cNvPr id="162" name="Oval 161"/>
          <p:cNvSpPr/>
          <p:nvPr/>
        </p:nvSpPr>
        <p:spPr>
          <a:xfrm>
            <a:off x="493713" y="3486150"/>
            <a:ext cx="6950075" cy="2698750"/>
          </a:xfrm>
          <a:prstGeom prst="ellipse">
            <a:avLst/>
          </a:prstGeom>
          <a:solidFill>
            <a:schemeClr val="accent1">
              <a:lumMod val="20000"/>
              <a:lumOff val="80000"/>
              <a:alpha val="36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92175">
              <a:spcBef>
                <a:spcPct val="0"/>
              </a:spcBef>
            </a:pPr>
            <a:endParaRPr lang="en-US" sz="1200" b="1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9671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  <a:p>
            <a:r>
              <a:rPr lang="en-US"/>
              <a:t>© ABB Group </a:t>
            </a:r>
          </a:p>
          <a:p>
            <a:fld id="{00D23E3F-2D8A-4991-BFDB-FB4E725CA44A}" type="datetime4">
              <a:rPr lang="en-US"/>
              <a:pPr/>
              <a:t>February 10, 2014</a:t>
            </a:fld>
            <a:r>
              <a:rPr lang="en-US"/>
              <a:t> | Slide </a:t>
            </a:r>
            <a:fld id="{D552EA8E-AF6D-459A-90BC-DE6EE24FC227}" type="slidenum">
              <a:rPr lang="en-US"/>
              <a:pPr/>
              <a:t>17</a:t>
            </a:fld>
            <a:endParaRPr lang="en-US"/>
          </a:p>
          <a:p>
            <a:r>
              <a:rPr lang="en-US"/>
              <a:t> </a:t>
            </a:r>
          </a:p>
        </p:txBody>
      </p:sp>
      <p:sp>
        <p:nvSpPr>
          <p:cNvPr id="21176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d Process and Power Automation</a:t>
            </a:r>
            <a:br>
              <a:rPr lang="en-US" dirty="0"/>
            </a:br>
            <a:r>
              <a:rPr lang="en-US" dirty="0" smtClean="0">
                <a:solidFill>
                  <a:schemeClr val="accent1"/>
                </a:solidFill>
              </a:rPr>
              <a:t>Concept &amp; benefit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>
              <a:solidFill>
                <a:srgbClr val="005ADE"/>
              </a:solidFill>
            </a:endParaRPr>
          </a:p>
        </p:txBody>
      </p:sp>
      <p:sp>
        <p:nvSpPr>
          <p:cNvPr id="14" name="Left Arrow 13">
            <a:hlinkClick r:id="rId3" action="ppaction://hlinksldjump"/>
          </p:cNvPr>
          <p:cNvSpPr/>
          <p:nvPr/>
        </p:nvSpPr>
        <p:spPr>
          <a:xfrm>
            <a:off x="7926779" y="415636"/>
            <a:ext cx="795647" cy="688769"/>
          </a:xfrm>
          <a:prstGeom prst="leftArrow">
            <a:avLst/>
          </a:prstGeom>
          <a:solidFill>
            <a:srgbClr val="99999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indent="180975" algn="ctr">
              <a:buClr>
                <a:srgbClr val="005ADE"/>
              </a:buClr>
              <a:buFont typeface="Wingdings" pitchFamily="2" charset="2"/>
              <a:buChar char="§"/>
              <a:defRPr/>
            </a:pPr>
            <a:endParaRPr lang="en-US" kern="0" dirty="0">
              <a:solidFill>
                <a:srgbClr val="000000"/>
              </a:solidFill>
            </a:endParaRPr>
          </a:p>
        </p:txBody>
      </p:sp>
      <p:pic>
        <p:nvPicPr>
          <p:cNvPr id="15" name="Picture 83" descr="motor.png"/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6463" y="5657850"/>
            <a:ext cx="38100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4" descr="motor.png"/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75" y="5657850"/>
            <a:ext cx="38100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85" descr="motor.png"/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2288" y="5657850"/>
            <a:ext cx="38100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86" descr="motor.png"/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563" y="5657850"/>
            <a:ext cx="38100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87" descr="motor.png"/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8688" y="5657850"/>
            <a:ext cx="38100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88" descr="motor.png"/>
          <p:cNvPicPr preferRelativeResize="0"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188" y="5487988"/>
            <a:ext cx="623887" cy="436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89" descr="motor.png"/>
          <p:cNvPicPr preferRelativeResize="0"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3688" y="5487988"/>
            <a:ext cx="623887" cy="436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Line 14"/>
          <p:cNvSpPr>
            <a:spLocks noChangeShapeType="1"/>
          </p:cNvSpPr>
          <p:nvPr/>
        </p:nvSpPr>
        <p:spPr bwMode="auto">
          <a:xfrm>
            <a:off x="2578100" y="3295650"/>
            <a:ext cx="5105400" cy="9525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23" name="Line 21"/>
          <p:cNvSpPr>
            <a:spLocks noChangeShapeType="1"/>
          </p:cNvSpPr>
          <p:nvPr/>
        </p:nvSpPr>
        <p:spPr bwMode="auto">
          <a:xfrm flipV="1">
            <a:off x="2557463" y="4035425"/>
            <a:ext cx="5137150" cy="0"/>
          </a:xfrm>
          <a:prstGeom prst="line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/>
          <a:lstStyle/>
          <a:p>
            <a:pPr defTabSz="893014"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" name="Line 101"/>
          <p:cNvSpPr>
            <a:spLocks noChangeShapeType="1"/>
          </p:cNvSpPr>
          <p:nvPr/>
        </p:nvSpPr>
        <p:spPr bwMode="auto">
          <a:xfrm rot="5400000" flipV="1">
            <a:off x="3772694" y="3567907"/>
            <a:ext cx="0" cy="2417762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25" name="Text Box 120"/>
          <p:cNvSpPr txBox="1">
            <a:spLocks noChangeArrowheads="1"/>
          </p:cNvSpPr>
          <p:nvPr/>
        </p:nvSpPr>
        <p:spPr bwMode="auto">
          <a:xfrm>
            <a:off x="5705475" y="1600200"/>
            <a:ext cx="17208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400" b="1">
                <a:solidFill>
                  <a:srgbClr val="000000"/>
                </a:solidFill>
                <a:latin typeface="Arial" pitchFamily="34" charset="0"/>
              </a:rPr>
              <a:t>Power Generation</a:t>
            </a:r>
          </a:p>
        </p:txBody>
      </p:sp>
      <p:pic>
        <p:nvPicPr>
          <p:cNvPr id="26" name="Picture 18"/>
          <p:cNvPicPr preferRelativeResize="0"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7138" y="4929188"/>
            <a:ext cx="557212" cy="59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0"/>
          <p:cNvPicPr preferRelativeResize="0"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7738" y="4938713"/>
            <a:ext cx="2381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1"/>
          <p:cNvPicPr preferRelativeResize="0"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850" y="4946650"/>
            <a:ext cx="3556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30"/>
          <p:cNvPicPr preferRelativeResize="0"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8925" y="2854325"/>
            <a:ext cx="347663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Line 19"/>
          <p:cNvSpPr>
            <a:spLocks noChangeShapeType="1"/>
          </p:cNvSpPr>
          <p:nvPr/>
        </p:nvSpPr>
        <p:spPr bwMode="auto">
          <a:xfrm flipV="1">
            <a:off x="6958013" y="4044950"/>
            <a:ext cx="0" cy="311150"/>
          </a:xfrm>
          <a:prstGeom prst="line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/>
          <a:lstStyle/>
          <a:p>
            <a:pPr defTabSz="893014">
              <a:defRPr/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31" name="Picture 32"/>
          <p:cNvPicPr preferRelativeResize="0"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2113" y="4221163"/>
            <a:ext cx="371475" cy="67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Line 19"/>
          <p:cNvSpPr>
            <a:spLocks noChangeShapeType="1"/>
          </p:cNvSpPr>
          <p:nvPr/>
        </p:nvSpPr>
        <p:spPr bwMode="auto">
          <a:xfrm flipV="1">
            <a:off x="5940425" y="4035425"/>
            <a:ext cx="0" cy="311150"/>
          </a:xfrm>
          <a:prstGeom prst="line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/>
          <a:lstStyle/>
          <a:p>
            <a:pPr defTabSz="893014">
              <a:defRPr/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33" name="Picture 34"/>
          <p:cNvPicPr preferRelativeResize="0"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4213" y="4302125"/>
            <a:ext cx="34766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Line 35"/>
          <p:cNvSpPr>
            <a:spLocks noChangeShapeType="1"/>
          </p:cNvSpPr>
          <p:nvPr/>
        </p:nvSpPr>
        <p:spPr bwMode="auto">
          <a:xfrm>
            <a:off x="6937375" y="4906963"/>
            <a:ext cx="0" cy="6619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35" name="Line 37"/>
          <p:cNvSpPr>
            <a:spLocks noChangeShapeType="1"/>
          </p:cNvSpPr>
          <p:nvPr/>
        </p:nvSpPr>
        <p:spPr bwMode="auto">
          <a:xfrm>
            <a:off x="4903788" y="5362575"/>
            <a:ext cx="0" cy="2889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36" name="Line 38"/>
          <p:cNvSpPr>
            <a:spLocks noChangeShapeType="1"/>
          </p:cNvSpPr>
          <p:nvPr/>
        </p:nvSpPr>
        <p:spPr bwMode="auto">
          <a:xfrm>
            <a:off x="3952875" y="5321300"/>
            <a:ext cx="0" cy="330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37" name="Line 39"/>
          <p:cNvSpPr>
            <a:spLocks noChangeShapeType="1"/>
          </p:cNvSpPr>
          <p:nvPr/>
        </p:nvSpPr>
        <p:spPr bwMode="auto">
          <a:xfrm>
            <a:off x="2811463" y="5456238"/>
            <a:ext cx="0" cy="1952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38" name="Line 40"/>
          <p:cNvSpPr>
            <a:spLocks noChangeShapeType="1"/>
          </p:cNvSpPr>
          <p:nvPr/>
        </p:nvSpPr>
        <p:spPr bwMode="auto">
          <a:xfrm>
            <a:off x="2349500" y="5518150"/>
            <a:ext cx="0" cy="1444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39" name="Line 41"/>
          <p:cNvSpPr>
            <a:spLocks noChangeShapeType="1"/>
          </p:cNvSpPr>
          <p:nvPr/>
        </p:nvSpPr>
        <p:spPr bwMode="auto">
          <a:xfrm flipH="1">
            <a:off x="3236913" y="5518150"/>
            <a:ext cx="0" cy="1444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40" name="Line 42"/>
          <p:cNvSpPr>
            <a:spLocks noChangeShapeType="1"/>
          </p:cNvSpPr>
          <p:nvPr/>
        </p:nvSpPr>
        <p:spPr bwMode="auto">
          <a:xfrm flipV="1">
            <a:off x="2344738" y="5514975"/>
            <a:ext cx="885825" cy="111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41" name="Text Box 42"/>
          <p:cNvSpPr txBox="1">
            <a:spLocks noChangeArrowheads="1"/>
          </p:cNvSpPr>
          <p:nvPr/>
        </p:nvSpPr>
        <p:spPr bwMode="auto">
          <a:xfrm>
            <a:off x="3155950" y="3546475"/>
            <a:ext cx="11064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Transformer</a:t>
            </a:r>
          </a:p>
        </p:txBody>
      </p:sp>
      <p:sp>
        <p:nvSpPr>
          <p:cNvPr id="42" name="Text Box 42"/>
          <p:cNvSpPr txBox="1">
            <a:spLocks noChangeArrowheads="1"/>
          </p:cNvSpPr>
          <p:nvPr/>
        </p:nvSpPr>
        <p:spPr bwMode="auto">
          <a:xfrm>
            <a:off x="6819900" y="2889250"/>
            <a:ext cx="11080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Transformer</a:t>
            </a:r>
          </a:p>
        </p:txBody>
      </p:sp>
      <p:sp>
        <p:nvSpPr>
          <p:cNvPr id="43" name="Text Box 42"/>
          <p:cNvSpPr txBox="1">
            <a:spLocks noChangeArrowheads="1"/>
          </p:cNvSpPr>
          <p:nvPr/>
        </p:nvSpPr>
        <p:spPr bwMode="auto">
          <a:xfrm>
            <a:off x="6838950" y="2089150"/>
            <a:ext cx="11064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Generator</a:t>
            </a:r>
          </a:p>
        </p:txBody>
      </p:sp>
      <p:pic>
        <p:nvPicPr>
          <p:cNvPr id="44" name="Picture 46"/>
          <p:cNvPicPr preferRelativeResize="0"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8925" y="1971675"/>
            <a:ext cx="38576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47"/>
          <p:cNvPicPr preferRelativeResize="0"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6638" y="3527425"/>
            <a:ext cx="385762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48"/>
          <p:cNvPicPr preferRelativeResize="0"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5475" y="4235450"/>
            <a:ext cx="38735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 Box 42"/>
          <p:cNvSpPr txBox="1">
            <a:spLocks noChangeArrowheads="1"/>
          </p:cNvSpPr>
          <p:nvPr/>
        </p:nvSpPr>
        <p:spPr bwMode="auto">
          <a:xfrm>
            <a:off x="4776788" y="4187825"/>
            <a:ext cx="881062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Protection &amp; Control IED</a:t>
            </a:r>
          </a:p>
        </p:txBody>
      </p:sp>
      <p:sp>
        <p:nvSpPr>
          <p:cNvPr id="48" name="Line 102"/>
          <p:cNvSpPr>
            <a:spLocks noChangeShapeType="1"/>
          </p:cNvSpPr>
          <p:nvPr/>
        </p:nvSpPr>
        <p:spPr bwMode="auto">
          <a:xfrm>
            <a:off x="4872038" y="4775200"/>
            <a:ext cx="0" cy="198438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49" name="Line 102"/>
          <p:cNvSpPr>
            <a:spLocks noChangeShapeType="1"/>
          </p:cNvSpPr>
          <p:nvPr/>
        </p:nvSpPr>
        <p:spPr bwMode="auto">
          <a:xfrm>
            <a:off x="3975100" y="4786313"/>
            <a:ext cx="0" cy="200025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50" name="Line 102"/>
          <p:cNvSpPr>
            <a:spLocks noChangeShapeType="1"/>
          </p:cNvSpPr>
          <p:nvPr/>
        </p:nvSpPr>
        <p:spPr bwMode="auto">
          <a:xfrm>
            <a:off x="2840038" y="4797425"/>
            <a:ext cx="0" cy="198438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/>
        </p:nvSpPr>
        <p:spPr bwMode="auto">
          <a:xfrm>
            <a:off x="6046788" y="4259263"/>
            <a:ext cx="811212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Protection &amp; Control IED</a:t>
            </a:r>
          </a:p>
        </p:txBody>
      </p:sp>
      <p:sp>
        <p:nvSpPr>
          <p:cNvPr id="52" name="Text Box 42"/>
          <p:cNvSpPr txBox="1">
            <a:spLocks noChangeArrowheads="1"/>
          </p:cNvSpPr>
          <p:nvPr/>
        </p:nvSpPr>
        <p:spPr bwMode="auto">
          <a:xfrm>
            <a:off x="7067550" y="4259263"/>
            <a:ext cx="804863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Variable Speed Drive</a:t>
            </a:r>
          </a:p>
        </p:txBody>
      </p:sp>
      <p:sp>
        <p:nvSpPr>
          <p:cNvPr id="53" name="Text Box 42"/>
          <p:cNvSpPr txBox="1">
            <a:spLocks noChangeArrowheads="1"/>
          </p:cNvSpPr>
          <p:nvPr/>
        </p:nvSpPr>
        <p:spPr bwMode="auto">
          <a:xfrm>
            <a:off x="4937125" y="4914900"/>
            <a:ext cx="804863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Variable Speed Drive</a:t>
            </a:r>
          </a:p>
        </p:txBody>
      </p:sp>
      <p:sp>
        <p:nvSpPr>
          <p:cNvPr id="54" name="Text Box 42"/>
          <p:cNvSpPr txBox="1">
            <a:spLocks noChangeArrowheads="1"/>
          </p:cNvSpPr>
          <p:nvPr/>
        </p:nvSpPr>
        <p:spPr bwMode="auto">
          <a:xfrm>
            <a:off x="4060825" y="4983163"/>
            <a:ext cx="80486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Motor Controller</a:t>
            </a:r>
          </a:p>
        </p:txBody>
      </p:sp>
      <p:sp>
        <p:nvSpPr>
          <p:cNvPr id="55" name="Text Box 42"/>
          <p:cNvSpPr txBox="1">
            <a:spLocks noChangeArrowheads="1"/>
          </p:cNvSpPr>
          <p:nvPr/>
        </p:nvSpPr>
        <p:spPr bwMode="auto">
          <a:xfrm>
            <a:off x="2944813" y="5006975"/>
            <a:ext cx="893762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LV Switchgear</a:t>
            </a:r>
          </a:p>
        </p:txBody>
      </p:sp>
      <p:sp>
        <p:nvSpPr>
          <p:cNvPr id="56" name="Text Box 42"/>
          <p:cNvSpPr txBox="1">
            <a:spLocks noChangeArrowheads="1"/>
          </p:cNvSpPr>
          <p:nvPr/>
        </p:nvSpPr>
        <p:spPr bwMode="auto">
          <a:xfrm>
            <a:off x="2752725" y="4305300"/>
            <a:ext cx="11080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Transformer</a:t>
            </a:r>
          </a:p>
        </p:txBody>
      </p:sp>
      <p:sp>
        <p:nvSpPr>
          <p:cNvPr id="57" name="Text Box 42"/>
          <p:cNvSpPr txBox="1">
            <a:spLocks noChangeArrowheads="1"/>
          </p:cNvSpPr>
          <p:nvPr/>
        </p:nvSpPr>
        <p:spPr bwMode="auto">
          <a:xfrm>
            <a:off x="1730375" y="2806700"/>
            <a:ext cx="11064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Transformer</a:t>
            </a:r>
          </a:p>
        </p:txBody>
      </p:sp>
      <p:sp>
        <p:nvSpPr>
          <p:cNvPr id="58" name="Text Box 45"/>
          <p:cNvSpPr txBox="1">
            <a:spLocks noChangeArrowheads="1"/>
          </p:cNvSpPr>
          <p:nvPr/>
        </p:nvSpPr>
        <p:spPr bwMode="auto">
          <a:xfrm>
            <a:off x="3481388" y="1601788"/>
            <a:ext cx="152241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400" b="1">
                <a:solidFill>
                  <a:srgbClr val="000000"/>
                </a:solidFill>
                <a:latin typeface="Arial" pitchFamily="34" charset="0"/>
              </a:rPr>
              <a:t>Grid connection</a:t>
            </a:r>
          </a:p>
        </p:txBody>
      </p:sp>
      <p:pic>
        <p:nvPicPr>
          <p:cNvPr id="59" name="Picture 65"/>
          <p:cNvPicPr preferRelativeResize="0"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9075" y="2570163"/>
            <a:ext cx="865188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Line 15"/>
          <p:cNvSpPr>
            <a:spLocks noChangeShapeType="1"/>
          </p:cNvSpPr>
          <p:nvPr/>
        </p:nvSpPr>
        <p:spPr bwMode="auto">
          <a:xfrm flipV="1">
            <a:off x="2419350" y="2114550"/>
            <a:ext cx="1931988" cy="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61" name="Picture 69"/>
          <p:cNvPicPr preferRelativeResize="0"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1413" y="2801938"/>
            <a:ext cx="387350" cy="37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70"/>
          <p:cNvPicPr preferRelativeResize="0"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5350" y="2592388"/>
            <a:ext cx="865188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Line 71"/>
          <p:cNvSpPr>
            <a:spLocks noChangeShapeType="1"/>
          </p:cNvSpPr>
          <p:nvPr/>
        </p:nvSpPr>
        <p:spPr bwMode="auto">
          <a:xfrm flipV="1">
            <a:off x="5727700" y="3027363"/>
            <a:ext cx="3603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pic>
        <p:nvPicPr>
          <p:cNvPr id="64" name="Picture 72"/>
          <p:cNvPicPr preferRelativeResize="0"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6313" y="1839913"/>
            <a:ext cx="73342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Text Box 42"/>
          <p:cNvSpPr txBox="1">
            <a:spLocks noChangeArrowheads="1"/>
          </p:cNvSpPr>
          <p:nvPr/>
        </p:nvSpPr>
        <p:spPr bwMode="auto">
          <a:xfrm>
            <a:off x="4400550" y="2428875"/>
            <a:ext cx="933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Protection &amp; Control IEDs</a:t>
            </a:r>
          </a:p>
        </p:txBody>
      </p:sp>
      <p:sp>
        <p:nvSpPr>
          <p:cNvPr id="66" name="Rectangle 74"/>
          <p:cNvSpPr>
            <a:spLocks noChangeArrowheads="1"/>
          </p:cNvSpPr>
          <p:nvPr/>
        </p:nvSpPr>
        <p:spPr bwMode="auto">
          <a:xfrm>
            <a:off x="6742113" y="3001963"/>
            <a:ext cx="112712" cy="920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893014"/>
            <a:endParaRPr lang="en-US">
              <a:solidFill>
                <a:srgbClr val="000000"/>
              </a:solidFill>
            </a:endParaRPr>
          </a:p>
        </p:txBody>
      </p:sp>
      <p:sp>
        <p:nvSpPr>
          <p:cNvPr id="67" name="Text Box 42"/>
          <p:cNvSpPr txBox="1">
            <a:spLocks noChangeArrowheads="1"/>
          </p:cNvSpPr>
          <p:nvPr/>
        </p:nvSpPr>
        <p:spPr bwMode="auto">
          <a:xfrm>
            <a:off x="5192713" y="3476625"/>
            <a:ext cx="950912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Protection &amp; Control IED</a:t>
            </a:r>
          </a:p>
        </p:txBody>
      </p:sp>
      <p:sp>
        <p:nvSpPr>
          <p:cNvPr id="68" name="TextBox 86"/>
          <p:cNvSpPr txBox="1">
            <a:spLocks noChangeArrowheads="1"/>
          </p:cNvSpPr>
          <p:nvPr/>
        </p:nvSpPr>
        <p:spPr bwMode="auto">
          <a:xfrm>
            <a:off x="1724025" y="4476750"/>
            <a:ext cx="612775" cy="388938"/>
          </a:xfrm>
          <a:prstGeom prst="rect">
            <a:avLst/>
          </a:prstGeom>
          <a:noFill/>
          <a:ln w="22225">
            <a:solidFill>
              <a:schemeClr val="accent1"/>
            </a:solidFill>
            <a:miter lim="800000"/>
            <a:headEnd/>
            <a:tailEnd/>
          </a:ln>
        </p:spPr>
        <p:txBody>
          <a:bodyPr anchor="ctr" anchorCtr="1">
            <a:spAutoFit/>
          </a:bodyPr>
          <a:lstStyle/>
          <a:p>
            <a:pPr algn="ctr" defTabSz="893014">
              <a:buFont typeface="Wingdings" pitchFamily="2" charset="2"/>
              <a:buNone/>
              <a:defRPr/>
            </a:pPr>
            <a:r>
              <a:rPr lang="de-DE">
                <a:solidFill>
                  <a:srgbClr val="005ADE"/>
                </a:solidFill>
              </a:rPr>
              <a:t>LV</a:t>
            </a:r>
            <a:endParaRPr lang="en-US">
              <a:solidFill>
                <a:srgbClr val="005ADE"/>
              </a:solidFill>
            </a:endParaRPr>
          </a:p>
        </p:txBody>
      </p:sp>
      <p:sp>
        <p:nvSpPr>
          <p:cNvPr id="69" name="TextBox 88"/>
          <p:cNvSpPr txBox="1">
            <a:spLocks noChangeArrowheads="1"/>
          </p:cNvSpPr>
          <p:nvPr/>
        </p:nvSpPr>
        <p:spPr bwMode="auto">
          <a:xfrm>
            <a:off x="1724025" y="3840163"/>
            <a:ext cx="612775" cy="388937"/>
          </a:xfrm>
          <a:prstGeom prst="rect">
            <a:avLst/>
          </a:prstGeom>
          <a:noFill/>
          <a:ln w="22225">
            <a:solidFill>
              <a:schemeClr val="accent1"/>
            </a:solidFill>
            <a:miter lim="800000"/>
            <a:headEnd/>
            <a:tailEnd/>
          </a:ln>
        </p:spPr>
        <p:txBody>
          <a:bodyPr anchor="ctr" anchorCtr="1">
            <a:spAutoFit/>
          </a:bodyPr>
          <a:lstStyle/>
          <a:p>
            <a:pPr algn="ctr" defTabSz="893014">
              <a:buFont typeface="Wingdings" pitchFamily="2" charset="2"/>
              <a:buNone/>
              <a:defRPr/>
            </a:pPr>
            <a:r>
              <a:rPr lang="de-DE">
                <a:solidFill>
                  <a:srgbClr val="005ADE"/>
                </a:solidFill>
              </a:rPr>
              <a:t>MV</a:t>
            </a:r>
            <a:endParaRPr lang="en-US">
              <a:solidFill>
                <a:srgbClr val="005ADE"/>
              </a:solidFill>
            </a:endParaRPr>
          </a:p>
        </p:txBody>
      </p:sp>
      <p:sp>
        <p:nvSpPr>
          <p:cNvPr id="70" name="TextBox 89"/>
          <p:cNvSpPr txBox="1">
            <a:spLocks noChangeArrowheads="1"/>
          </p:cNvSpPr>
          <p:nvPr/>
        </p:nvSpPr>
        <p:spPr bwMode="auto">
          <a:xfrm>
            <a:off x="1724025" y="3121025"/>
            <a:ext cx="612775" cy="388938"/>
          </a:xfrm>
          <a:prstGeom prst="rect">
            <a:avLst/>
          </a:prstGeom>
          <a:noFill/>
          <a:ln w="22225">
            <a:solidFill>
              <a:schemeClr val="accent1"/>
            </a:solidFill>
            <a:miter lim="800000"/>
            <a:headEnd/>
            <a:tailEnd/>
          </a:ln>
        </p:spPr>
        <p:txBody>
          <a:bodyPr anchor="ctr" anchorCtr="1">
            <a:spAutoFit/>
          </a:bodyPr>
          <a:lstStyle/>
          <a:p>
            <a:pPr algn="ctr" defTabSz="893014">
              <a:buFont typeface="Wingdings" pitchFamily="2" charset="2"/>
              <a:buNone/>
              <a:defRPr/>
            </a:pPr>
            <a:r>
              <a:rPr lang="de-DE">
                <a:solidFill>
                  <a:srgbClr val="005ADE"/>
                </a:solidFill>
              </a:rPr>
              <a:t>HV</a:t>
            </a:r>
            <a:endParaRPr lang="en-US">
              <a:solidFill>
                <a:srgbClr val="005ADE"/>
              </a:solidFill>
            </a:endParaRPr>
          </a:p>
        </p:txBody>
      </p:sp>
      <p:pic>
        <p:nvPicPr>
          <p:cNvPr id="72" name="Picture 65"/>
          <p:cNvPicPr preferRelativeResize="0"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5763" y="3459163"/>
            <a:ext cx="533400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Line 77"/>
          <p:cNvSpPr>
            <a:spLocks noChangeShapeType="1"/>
          </p:cNvSpPr>
          <p:nvPr/>
        </p:nvSpPr>
        <p:spPr bwMode="auto">
          <a:xfrm flipV="1">
            <a:off x="4529138" y="3292475"/>
            <a:ext cx="0" cy="27940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74" name="Line 19"/>
          <p:cNvSpPr>
            <a:spLocks noChangeShapeType="1"/>
          </p:cNvSpPr>
          <p:nvPr/>
        </p:nvSpPr>
        <p:spPr bwMode="auto">
          <a:xfrm flipV="1">
            <a:off x="4525963" y="3787775"/>
            <a:ext cx="3175" cy="238125"/>
          </a:xfrm>
          <a:prstGeom prst="line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/>
          <a:lstStyle/>
          <a:p>
            <a:pPr defTabSz="893014">
              <a:defRPr/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75" name="Picture 65"/>
          <p:cNvPicPr preferRelativeResize="0"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2538" y="4178300"/>
            <a:ext cx="531812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6" name="Straight Connector 93"/>
          <p:cNvCxnSpPr>
            <a:cxnSpLocks noChangeShapeType="1"/>
          </p:cNvCxnSpPr>
          <p:nvPr/>
        </p:nvCxnSpPr>
        <p:spPr bwMode="auto">
          <a:xfrm rot="5400000">
            <a:off x="2574925" y="2286000"/>
            <a:ext cx="1047750" cy="0"/>
          </a:xfrm>
          <a:prstGeom prst="line">
            <a:avLst/>
          </a:prstGeom>
          <a:noFill/>
          <a:ln w="38100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7" name="Straight Connector 95"/>
          <p:cNvCxnSpPr>
            <a:cxnSpLocks noChangeShapeType="1"/>
          </p:cNvCxnSpPr>
          <p:nvPr/>
        </p:nvCxnSpPr>
        <p:spPr bwMode="auto">
          <a:xfrm rot="10800000">
            <a:off x="3508375" y="3025775"/>
            <a:ext cx="206375" cy="0"/>
          </a:xfrm>
          <a:prstGeom prst="line">
            <a:avLst/>
          </a:prstGeom>
          <a:noFill/>
          <a:ln w="38100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Connector 98"/>
          <p:cNvCxnSpPr>
            <a:cxnSpLocks noChangeShapeType="1"/>
          </p:cNvCxnSpPr>
          <p:nvPr/>
        </p:nvCxnSpPr>
        <p:spPr bwMode="auto">
          <a:xfrm rot="10800000">
            <a:off x="4251325" y="4451350"/>
            <a:ext cx="206375" cy="0"/>
          </a:xfrm>
          <a:prstGeom prst="line">
            <a:avLst/>
          </a:prstGeom>
          <a:noFill/>
          <a:ln w="38100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9" name="Line 107"/>
          <p:cNvSpPr>
            <a:spLocks noChangeShapeType="1"/>
          </p:cNvSpPr>
          <p:nvPr/>
        </p:nvSpPr>
        <p:spPr bwMode="auto">
          <a:xfrm flipV="1">
            <a:off x="4011613" y="4040188"/>
            <a:ext cx="0" cy="276225"/>
          </a:xfrm>
          <a:prstGeom prst="line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/>
          <a:lstStyle/>
          <a:p>
            <a:pPr defTabSz="893014"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0" name="Line 102"/>
          <p:cNvSpPr>
            <a:spLocks noChangeShapeType="1"/>
          </p:cNvSpPr>
          <p:nvPr/>
        </p:nvSpPr>
        <p:spPr bwMode="auto">
          <a:xfrm>
            <a:off x="4094163" y="4532313"/>
            <a:ext cx="0" cy="24130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cxnSp>
        <p:nvCxnSpPr>
          <p:cNvPr id="81" name="Straight Connector 99"/>
          <p:cNvCxnSpPr>
            <a:cxnSpLocks noChangeShapeType="1"/>
          </p:cNvCxnSpPr>
          <p:nvPr/>
        </p:nvCxnSpPr>
        <p:spPr bwMode="auto">
          <a:xfrm rot="10800000">
            <a:off x="4659313" y="3746500"/>
            <a:ext cx="206375" cy="0"/>
          </a:xfrm>
          <a:prstGeom prst="line">
            <a:avLst/>
          </a:prstGeom>
          <a:noFill/>
          <a:ln w="38100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Line 35"/>
          <p:cNvSpPr>
            <a:spLocks noChangeShapeType="1"/>
          </p:cNvSpPr>
          <p:nvPr/>
        </p:nvSpPr>
        <p:spPr bwMode="auto">
          <a:xfrm>
            <a:off x="5986463" y="4603750"/>
            <a:ext cx="0" cy="9572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83" name="Line 123"/>
          <p:cNvSpPr>
            <a:spLocks noChangeShapeType="1"/>
          </p:cNvSpPr>
          <p:nvPr/>
        </p:nvSpPr>
        <p:spPr bwMode="auto">
          <a:xfrm flipH="1">
            <a:off x="6334125" y="2478088"/>
            <a:ext cx="0" cy="352425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84" name="Line 124"/>
          <p:cNvSpPr>
            <a:spLocks noChangeShapeType="1"/>
          </p:cNvSpPr>
          <p:nvPr/>
        </p:nvSpPr>
        <p:spPr bwMode="auto">
          <a:xfrm flipV="1">
            <a:off x="6396038" y="3154363"/>
            <a:ext cx="0" cy="141287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85" name="Line 60"/>
          <p:cNvSpPr>
            <a:spLocks noChangeShapeType="1"/>
          </p:cNvSpPr>
          <p:nvPr/>
        </p:nvSpPr>
        <p:spPr bwMode="auto">
          <a:xfrm>
            <a:off x="5732463" y="2160588"/>
            <a:ext cx="3587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86" name="Line 124"/>
          <p:cNvSpPr>
            <a:spLocks noChangeShapeType="1"/>
          </p:cNvSpPr>
          <p:nvPr/>
        </p:nvSpPr>
        <p:spPr bwMode="auto">
          <a:xfrm flipV="1">
            <a:off x="3235325" y="3127375"/>
            <a:ext cx="0" cy="17780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893014"/>
            <a:endParaRPr lang="en-US" sz="1700">
              <a:solidFill>
                <a:srgbClr val="000000"/>
              </a:solidFill>
            </a:endParaRPr>
          </a:p>
        </p:txBody>
      </p:sp>
      <p:sp>
        <p:nvSpPr>
          <p:cNvPr id="87" name="Text Box 42"/>
          <p:cNvSpPr txBox="1">
            <a:spLocks noChangeArrowheads="1"/>
          </p:cNvSpPr>
          <p:nvPr/>
        </p:nvSpPr>
        <p:spPr bwMode="auto">
          <a:xfrm>
            <a:off x="4146550" y="5678488"/>
            <a:ext cx="8032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893014" eaLnBrk="0" hangingPunct="0">
              <a:spcBef>
                <a:spcPct val="50000"/>
              </a:spcBef>
            </a:pPr>
            <a:r>
              <a:rPr lang="en-GB" sz="1000">
                <a:solidFill>
                  <a:srgbClr val="000000"/>
                </a:solidFill>
                <a:latin typeface="Arial" pitchFamily="34" charset="0"/>
              </a:rPr>
              <a:t>Motors</a:t>
            </a:r>
          </a:p>
        </p:txBody>
      </p:sp>
      <p:pic>
        <p:nvPicPr>
          <p:cNvPr id="88" name="Picture 40" descr="untitled15"/>
          <p:cNvPicPr preferRelativeResize="0"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850" y="1895475"/>
            <a:ext cx="1200150" cy="98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48" descr="GIS"/>
          <p:cNvPicPr preferRelativeResize="0"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850" y="3001963"/>
            <a:ext cx="1189038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Picture 6"/>
          <p:cNvPicPr preferRelativeResize="0"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563" y="5351463"/>
            <a:ext cx="1241425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Picture 7"/>
          <p:cNvPicPr preferRelativeResize="0"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25" y="4189413"/>
            <a:ext cx="1257300" cy="98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2" name="Group 84"/>
          <p:cNvGrpSpPr>
            <a:grpSpLocks/>
          </p:cNvGrpSpPr>
          <p:nvPr/>
        </p:nvGrpSpPr>
        <p:grpSpPr bwMode="auto">
          <a:xfrm>
            <a:off x="190500" y="1592263"/>
            <a:ext cx="8682038" cy="3314700"/>
            <a:chOff x="136" y="996"/>
            <a:chExt cx="5488" cy="2088"/>
          </a:xfrm>
        </p:grpSpPr>
        <p:sp>
          <p:nvSpPr>
            <p:cNvPr id="93" name="Freeform 92"/>
            <p:cNvSpPr/>
            <p:nvPr/>
          </p:nvSpPr>
          <p:spPr bwMode="auto">
            <a:xfrm>
              <a:off x="136" y="996"/>
              <a:ext cx="5488" cy="2088"/>
            </a:xfrm>
            <a:custGeom>
              <a:avLst/>
              <a:gdLst>
                <a:gd name="connsiteX0" fmla="*/ 0 w 7439025"/>
                <a:gd name="connsiteY0" fmla="*/ 9525 h 3314700"/>
                <a:gd name="connsiteX1" fmla="*/ 0 w 7439025"/>
                <a:gd name="connsiteY1" fmla="*/ 3314700 h 3314700"/>
                <a:gd name="connsiteX2" fmla="*/ 3990975 w 7439025"/>
                <a:gd name="connsiteY2" fmla="*/ 3314700 h 3314700"/>
                <a:gd name="connsiteX3" fmla="*/ 5010150 w 7439025"/>
                <a:gd name="connsiteY3" fmla="*/ 2600325 h 3314700"/>
                <a:gd name="connsiteX4" fmla="*/ 7439025 w 7439025"/>
                <a:gd name="connsiteY4" fmla="*/ 2600325 h 3314700"/>
                <a:gd name="connsiteX5" fmla="*/ 7439025 w 7439025"/>
                <a:gd name="connsiteY5" fmla="*/ 0 h 3314700"/>
                <a:gd name="connsiteX6" fmla="*/ 0 w 7439025"/>
                <a:gd name="connsiteY6" fmla="*/ 9525 h 331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39025" h="3314700">
                  <a:moveTo>
                    <a:pt x="0" y="9525"/>
                  </a:moveTo>
                  <a:lnTo>
                    <a:pt x="0" y="3314700"/>
                  </a:lnTo>
                  <a:lnTo>
                    <a:pt x="3990975" y="3314700"/>
                  </a:lnTo>
                  <a:lnTo>
                    <a:pt x="5010150" y="2600325"/>
                  </a:lnTo>
                  <a:lnTo>
                    <a:pt x="7439025" y="2600325"/>
                  </a:lnTo>
                  <a:lnTo>
                    <a:pt x="7439025" y="0"/>
                  </a:lnTo>
                  <a:lnTo>
                    <a:pt x="0" y="9525"/>
                  </a:lnTo>
                  <a:close/>
                </a:path>
              </a:pathLst>
            </a:custGeom>
            <a:solidFill>
              <a:schemeClr val="accent6">
                <a:alpha val="26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182563" indent="-182563" defTabSz="893014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4" name="TextBox 163"/>
            <p:cNvSpPr txBox="1">
              <a:spLocks noChangeArrowheads="1"/>
            </p:cNvSpPr>
            <p:nvPr/>
          </p:nvSpPr>
          <p:spPr bwMode="auto">
            <a:xfrm>
              <a:off x="247" y="1272"/>
              <a:ext cx="1003" cy="426"/>
            </a:xfrm>
            <a:prstGeom prst="rect">
              <a:avLst/>
            </a:prstGeom>
            <a:solidFill>
              <a:schemeClr val="bg1"/>
            </a:solidFill>
            <a:ln w="349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defTabSz="893014">
                <a:spcBef>
                  <a:spcPct val="50000"/>
                </a:spcBef>
                <a:buFont typeface="Wingdings" pitchFamily="2" charset="2"/>
                <a:buNone/>
              </a:pPr>
              <a:r>
                <a:rPr lang="de-DE" sz="1800">
                  <a:solidFill>
                    <a:srgbClr val="002897"/>
                  </a:solidFill>
                  <a:latin typeface="Arial" pitchFamily="34" charset="0"/>
                </a:rPr>
                <a:t>Power Automation</a:t>
              </a:r>
              <a:endParaRPr lang="en-US" sz="1800">
                <a:solidFill>
                  <a:srgbClr val="002897"/>
                </a:solidFill>
                <a:latin typeface="Arial" pitchFamily="34" charset="0"/>
              </a:endParaRPr>
            </a:p>
          </p:txBody>
        </p:sp>
      </p:grpSp>
      <p:grpSp>
        <p:nvGrpSpPr>
          <p:cNvPr id="95" name="Group 117"/>
          <p:cNvGrpSpPr>
            <a:grpSpLocks/>
          </p:cNvGrpSpPr>
          <p:nvPr/>
        </p:nvGrpSpPr>
        <p:grpSpPr bwMode="auto">
          <a:xfrm>
            <a:off x="185738" y="4198938"/>
            <a:ext cx="8723312" cy="2009775"/>
            <a:chOff x="214298" y="2505075"/>
            <a:chExt cx="8701102" cy="2009775"/>
          </a:xfrm>
        </p:grpSpPr>
        <p:sp>
          <p:nvSpPr>
            <p:cNvPr id="96" name="Freeform 114"/>
            <p:cNvSpPr>
              <a:spLocks/>
            </p:cNvSpPr>
            <p:nvPr/>
          </p:nvSpPr>
          <p:spPr bwMode="auto">
            <a:xfrm>
              <a:off x="214298" y="2505075"/>
              <a:ext cx="8701102" cy="2009775"/>
            </a:xfrm>
            <a:custGeom>
              <a:avLst/>
              <a:gdLst>
                <a:gd name="T0" fmla="*/ 0 w 7448550"/>
                <a:gd name="T1" fmla="*/ 2009775 h 2009775"/>
                <a:gd name="T2" fmla="*/ 22110036 w 7448550"/>
                <a:gd name="T3" fmla="*/ 2009775 h 2009775"/>
                <a:gd name="T4" fmla="*/ 22110036 w 7448550"/>
                <a:gd name="T5" fmla="*/ 0 h 2009775"/>
                <a:gd name="T6" fmla="*/ 14843699 w 7448550"/>
                <a:gd name="T7" fmla="*/ 0 h 2009775"/>
                <a:gd name="T8" fmla="*/ 11846676 w 7448550"/>
                <a:gd name="T9" fmla="*/ 714375 h 2009775"/>
                <a:gd name="T10" fmla="*/ 28274 w 7448550"/>
                <a:gd name="T11" fmla="*/ 714375 h 2009775"/>
                <a:gd name="T12" fmla="*/ 0 w 7448550"/>
                <a:gd name="T13" fmla="*/ 2009775 h 200977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448550"/>
                <a:gd name="T22" fmla="*/ 0 h 2009775"/>
                <a:gd name="T23" fmla="*/ 7448550 w 7448550"/>
                <a:gd name="T24" fmla="*/ 2009775 h 200977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448550" h="2009775">
                  <a:moveTo>
                    <a:pt x="0" y="2009775"/>
                  </a:moveTo>
                  <a:lnTo>
                    <a:pt x="7448550" y="2009775"/>
                  </a:lnTo>
                  <a:lnTo>
                    <a:pt x="7448550" y="0"/>
                  </a:lnTo>
                  <a:lnTo>
                    <a:pt x="5000625" y="0"/>
                  </a:lnTo>
                  <a:lnTo>
                    <a:pt x="3990975" y="714375"/>
                  </a:lnTo>
                  <a:lnTo>
                    <a:pt x="9525" y="714375"/>
                  </a:lnTo>
                  <a:lnTo>
                    <a:pt x="0" y="2009775"/>
                  </a:lnTo>
                  <a:close/>
                </a:path>
              </a:pathLst>
            </a:custGeom>
            <a:solidFill>
              <a:schemeClr val="accent2">
                <a:alpha val="1098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893014"/>
              <a:endParaRPr lang="en-US" sz="1700">
                <a:solidFill>
                  <a:srgbClr val="000000"/>
                </a:solidFill>
              </a:endParaRPr>
            </a:p>
          </p:txBody>
        </p:sp>
        <p:sp>
          <p:nvSpPr>
            <p:cNvPr id="97" name="TextBox 165"/>
            <p:cNvSpPr txBox="1">
              <a:spLocks noChangeArrowheads="1"/>
            </p:cNvSpPr>
            <p:nvPr/>
          </p:nvSpPr>
          <p:spPr bwMode="auto">
            <a:xfrm>
              <a:off x="378295" y="3571875"/>
              <a:ext cx="1587363" cy="676275"/>
            </a:xfrm>
            <a:prstGeom prst="rect">
              <a:avLst/>
            </a:prstGeom>
            <a:solidFill>
              <a:schemeClr val="bg1"/>
            </a:solidFill>
            <a:ln w="349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defTabSz="893014">
                <a:spcBef>
                  <a:spcPct val="50000"/>
                </a:spcBef>
                <a:buFont typeface="Wingdings" pitchFamily="2" charset="2"/>
                <a:buNone/>
              </a:pPr>
              <a:r>
                <a:rPr lang="de-DE" sz="1800">
                  <a:solidFill>
                    <a:srgbClr val="002897"/>
                  </a:solidFill>
                  <a:latin typeface="Arial" pitchFamily="34" charset="0"/>
                </a:rPr>
                <a:t>Process Automation</a:t>
              </a:r>
              <a:endParaRPr lang="en-US" sz="1800">
                <a:solidFill>
                  <a:srgbClr val="002897"/>
                </a:solidFill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190337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  <a:p>
            <a:r>
              <a:rPr lang="en-US"/>
              <a:t>© ABB Group </a:t>
            </a:r>
          </a:p>
          <a:p>
            <a:fld id="{00D23E3F-2D8A-4991-BFDB-FB4E725CA44A}" type="datetime4">
              <a:rPr lang="en-US"/>
              <a:pPr/>
              <a:t>February 10, 2014</a:t>
            </a:fld>
            <a:r>
              <a:rPr lang="en-US"/>
              <a:t> | Slide </a:t>
            </a:r>
            <a:fld id="{D552EA8E-AF6D-459A-90BC-DE6EE24FC227}" type="slidenum">
              <a:rPr lang="en-US"/>
              <a:pPr/>
              <a:t>18</a:t>
            </a:fld>
            <a:endParaRPr lang="en-US"/>
          </a:p>
          <a:p>
            <a:r>
              <a:rPr lang="en-US"/>
              <a:t> </a:t>
            </a:r>
          </a:p>
        </p:txBody>
      </p:sp>
      <p:sp>
        <p:nvSpPr>
          <p:cNvPr id="21176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grated Process and Power Automation</a:t>
            </a:r>
            <a:br>
              <a:rPr lang="en-US"/>
            </a:br>
            <a:r>
              <a:rPr lang="en-US">
                <a:solidFill>
                  <a:srgbClr val="005ADE"/>
                </a:solidFill>
              </a:rPr>
              <a:t>Electrical Integration with System 800xA</a:t>
            </a:r>
          </a:p>
        </p:txBody>
      </p:sp>
      <p:sp>
        <p:nvSpPr>
          <p:cNvPr id="21176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76375" y="1763713"/>
            <a:ext cx="6191250" cy="4608512"/>
          </a:xfrm>
        </p:spPr>
        <p:txBody>
          <a:bodyPr/>
          <a:lstStyle/>
          <a:p>
            <a:endParaRPr lang="en-US"/>
          </a:p>
        </p:txBody>
      </p:sp>
      <p:pic>
        <p:nvPicPr>
          <p:cNvPr id="2117636" name="Picture 4" descr="New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100" y="1447800"/>
            <a:ext cx="7512050" cy="492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AutoShape 64"/>
          <p:cNvSpPr>
            <a:spLocks noChangeArrowheads="1"/>
          </p:cNvSpPr>
          <p:nvPr/>
        </p:nvSpPr>
        <p:spPr bwMode="auto">
          <a:xfrm>
            <a:off x="873125" y="1558925"/>
            <a:ext cx="7437438" cy="4870450"/>
          </a:xfrm>
          <a:prstGeom prst="flowChartAlternateProcess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39999"/>
                  </a:schemeClr>
                </a:solidFill>
              </a14:hiddenFill>
            </a:ext>
          </a:extLst>
        </p:spPr>
        <p:txBody>
          <a:bodyPr wrap="none" anchor="ctr"/>
          <a:lstStyle/>
          <a:p>
            <a:pPr defTabSz="893014"/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" name="AutoShape 65"/>
          <p:cNvGrpSpPr>
            <a:grpSpLocks/>
          </p:cNvGrpSpPr>
          <p:nvPr/>
        </p:nvGrpSpPr>
        <p:grpSpPr bwMode="auto">
          <a:xfrm>
            <a:off x="6444208" y="2538413"/>
            <a:ext cx="2111375" cy="1311275"/>
            <a:chOff x="4047" y="1513"/>
            <a:chExt cx="1494" cy="826"/>
          </a:xfrm>
        </p:grpSpPr>
        <p:pic>
          <p:nvPicPr>
            <p:cNvPr id="2117639" name="AutoShape 65"/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47" y="1513"/>
              <a:ext cx="1494" cy="8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17640" name="Text Box 8"/>
            <p:cNvSpPr txBox="1">
              <a:spLocks noChangeArrowheads="1"/>
            </p:cNvSpPr>
            <p:nvPr/>
          </p:nvSpPr>
          <p:spPr bwMode="auto">
            <a:xfrm>
              <a:off x="4481" y="1560"/>
              <a:ext cx="1018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defTabSz="893014">
                <a:spcBef>
                  <a:spcPct val="50000"/>
                </a:spcBef>
                <a:buFont typeface="Wingdings" pitchFamily="2" charset="2"/>
                <a:buNone/>
              </a:pPr>
              <a:r>
                <a:rPr lang="en-US" sz="1400">
                  <a:solidFill>
                    <a:srgbClr val="000000"/>
                  </a:solidFill>
                  <a:latin typeface="Arial" charset="0"/>
                </a:rPr>
                <a:t>Electrical Integration Based on Open Standards</a:t>
              </a:r>
            </a:p>
          </p:txBody>
        </p:sp>
      </p:grpSp>
      <p:grpSp>
        <p:nvGrpSpPr>
          <p:cNvPr id="3" name="AutoShape 69"/>
          <p:cNvGrpSpPr>
            <a:grpSpLocks/>
          </p:cNvGrpSpPr>
          <p:nvPr/>
        </p:nvGrpSpPr>
        <p:grpSpPr bwMode="auto">
          <a:xfrm>
            <a:off x="1036638" y="1647825"/>
            <a:ext cx="3344862" cy="981075"/>
            <a:chOff x="914" y="691"/>
            <a:chExt cx="2365" cy="618"/>
          </a:xfrm>
        </p:grpSpPr>
        <p:pic>
          <p:nvPicPr>
            <p:cNvPr id="2117643" name="AutoShape 69"/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" y="691"/>
              <a:ext cx="2365" cy="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17644" name="Text Box 12"/>
            <p:cNvSpPr txBox="1">
              <a:spLocks noChangeArrowheads="1"/>
            </p:cNvSpPr>
            <p:nvPr/>
          </p:nvSpPr>
          <p:spPr bwMode="auto">
            <a:xfrm>
              <a:off x="960" y="736"/>
              <a:ext cx="1022" cy="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defTabSz="893014">
                <a:spcBef>
                  <a:spcPct val="50000"/>
                </a:spcBef>
                <a:buFont typeface="Wingdings" pitchFamily="2" charset="2"/>
                <a:buNone/>
              </a:pPr>
              <a:r>
                <a:rPr lang="en-US" sz="1400">
                  <a:solidFill>
                    <a:srgbClr val="000000"/>
                  </a:solidFill>
                  <a:latin typeface="Arial" charset="0"/>
                </a:rPr>
                <a:t>Full Plant Integration with System 800xA</a:t>
              </a:r>
            </a:p>
          </p:txBody>
        </p:sp>
      </p:grpSp>
      <p:sp>
        <p:nvSpPr>
          <p:cNvPr id="14" name="Left Arrow 13">
            <a:hlinkClick r:id="rId6" action="ppaction://hlinksldjump"/>
          </p:cNvPr>
          <p:cNvSpPr/>
          <p:nvPr/>
        </p:nvSpPr>
        <p:spPr>
          <a:xfrm>
            <a:off x="7926779" y="415636"/>
            <a:ext cx="795647" cy="688769"/>
          </a:xfrm>
          <a:prstGeom prst="leftArrow">
            <a:avLst/>
          </a:prstGeom>
          <a:solidFill>
            <a:srgbClr val="99999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indent="180975" algn="ctr">
              <a:buClr>
                <a:srgbClr val="005ADE"/>
              </a:buClr>
              <a:buFont typeface="Wingdings" pitchFamily="2" charset="2"/>
              <a:buChar char="§"/>
              <a:defRPr/>
            </a:pPr>
            <a:endParaRPr lang="en-US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80370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Pentagon 101"/>
          <p:cNvSpPr/>
          <p:nvPr/>
        </p:nvSpPr>
        <p:spPr>
          <a:xfrm>
            <a:off x="251520" y="1736433"/>
            <a:ext cx="8612480" cy="717424"/>
          </a:xfrm>
          <a:prstGeom prst="homePlat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228600" indent="-228600"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1. Service Agreements</a:t>
            </a:r>
            <a:endParaRPr lang="it-IT" sz="800" dirty="0" smtClean="0">
              <a:solidFill>
                <a:srgbClr val="FFFFFF"/>
              </a:solidFill>
            </a:endParaRPr>
          </a:p>
          <a:p>
            <a:pPr marL="228600" indent="-228600" algn="ctr">
              <a:buFontTx/>
              <a:buAutoNum type="arabicPeriod"/>
              <a:defRPr/>
            </a:pPr>
            <a:endParaRPr lang="it-IT" sz="800" dirty="0" smtClean="0">
              <a:solidFill>
                <a:srgbClr val="FFFFFF"/>
              </a:solidFill>
            </a:endParaRPr>
          </a:p>
          <a:p>
            <a:pPr marL="228600" indent="-228600" algn="ctr">
              <a:buFontTx/>
              <a:buAutoNum type="arabicPeriod"/>
              <a:defRPr/>
            </a:pPr>
            <a:endParaRPr lang="it-IT" sz="800" dirty="0" smtClean="0">
              <a:solidFill>
                <a:srgbClr val="FFFFFF"/>
              </a:solidFill>
            </a:endParaRPr>
          </a:p>
          <a:p>
            <a:pPr marL="228600" indent="-228600" algn="ctr">
              <a:buFontTx/>
              <a:buAutoNum type="arabicPeriod"/>
              <a:defRPr/>
            </a:pPr>
            <a:endParaRPr lang="it-IT" sz="800" dirty="0" smtClean="0">
              <a:solidFill>
                <a:srgbClr val="FFFFFF"/>
              </a:solidFill>
            </a:endParaRPr>
          </a:p>
          <a:p>
            <a:pPr marL="228600" indent="-228600" algn="ctr">
              <a:buFontTx/>
              <a:buAutoNum type="arabicPeriod"/>
              <a:defRPr/>
            </a:pP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270540" y="1977427"/>
            <a:ext cx="8096078" cy="502523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>
        <p:nvSpPr>
          <p:cNvPr id="21505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ABB Services</a:t>
            </a:r>
            <a:br>
              <a:rPr lang="en-US" dirty="0" smtClean="0"/>
            </a:br>
            <a:r>
              <a:rPr lang="en-US" dirty="0" smtClean="0">
                <a:solidFill>
                  <a:srgbClr val="395CEF"/>
                </a:solidFill>
                <a:latin typeface="Arial" pitchFamily="34" charset="0"/>
                <a:cs typeface="Arial" pitchFamily="34" charset="0"/>
              </a:rPr>
              <a:t>Structured standard elements of service scope</a:t>
            </a:r>
          </a:p>
        </p:txBody>
      </p:sp>
      <p:sp>
        <p:nvSpPr>
          <p:cNvPr id="19" name="Pentagon 18"/>
          <p:cNvSpPr/>
          <p:nvPr/>
        </p:nvSpPr>
        <p:spPr>
          <a:xfrm>
            <a:off x="251520" y="1987789"/>
            <a:ext cx="996841" cy="468313"/>
          </a:xfrm>
          <a:prstGeom prst="homePlat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2. Installation </a:t>
            </a:r>
            <a:r>
              <a:rPr lang="en-US" sz="800" dirty="0">
                <a:solidFill>
                  <a:srgbClr val="FFFFFF"/>
                </a:solidFill>
              </a:rPr>
              <a:t>&amp;</a:t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dirty="0">
                <a:solidFill>
                  <a:srgbClr val="FFFFFF"/>
                </a:solidFill>
              </a:rPr>
              <a:t>commissioning</a:t>
            </a:r>
          </a:p>
        </p:txBody>
      </p:sp>
      <p:sp>
        <p:nvSpPr>
          <p:cNvPr id="20" name="Chevron 19"/>
          <p:cNvSpPr/>
          <p:nvPr/>
        </p:nvSpPr>
        <p:spPr>
          <a:xfrm>
            <a:off x="1033528" y="1987789"/>
            <a:ext cx="992895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3. Training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1" name="Chevron 20"/>
          <p:cNvSpPr/>
          <p:nvPr/>
        </p:nvSpPr>
        <p:spPr>
          <a:xfrm>
            <a:off x="1811326" y="1987789"/>
            <a:ext cx="1094327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4. Spares</a:t>
            </a:r>
          </a:p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 &amp;</a:t>
            </a:r>
            <a:r>
              <a:rPr lang="en-US" sz="800" dirty="0">
                <a:solidFill>
                  <a:srgbClr val="FFFFFF"/>
                </a:solidFill>
              </a:rPr>
              <a:t/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dirty="0">
                <a:solidFill>
                  <a:srgbClr val="FFFFFF"/>
                </a:solidFill>
              </a:rPr>
              <a:t>Consumables</a:t>
            </a:r>
          </a:p>
        </p:txBody>
      </p:sp>
      <p:sp>
        <p:nvSpPr>
          <p:cNvPr id="23" name="Chevron 22"/>
          <p:cNvSpPr/>
          <p:nvPr/>
        </p:nvSpPr>
        <p:spPr>
          <a:xfrm>
            <a:off x="4297807" y="1987789"/>
            <a:ext cx="1134379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7. Engineering</a:t>
            </a:r>
          </a:p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&amp; Consulting 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4" name="Chevron 23"/>
          <p:cNvSpPr/>
          <p:nvPr/>
        </p:nvSpPr>
        <p:spPr>
          <a:xfrm>
            <a:off x="6045328" y="1987545"/>
            <a:ext cx="1075343" cy="47683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9. Extension,</a:t>
            </a:r>
            <a:r>
              <a:rPr lang="en-US" sz="800" dirty="0">
                <a:solidFill>
                  <a:srgbClr val="FFFFFF"/>
                </a:solidFill>
              </a:rPr>
              <a:t/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dirty="0">
                <a:solidFill>
                  <a:srgbClr val="FFFFFF"/>
                </a:solidFill>
              </a:rPr>
              <a:t>Upgrades</a:t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dirty="0">
                <a:solidFill>
                  <a:srgbClr val="FFFFFF"/>
                </a:solidFill>
              </a:rPr>
              <a:t>&amp; Retrofits</a:t>
            </a:r>
          </a:p>
        </p:txBody>
      </p:sp>
      <p:sp>
        <p:nvSpPr>
          <p:cNvPr id="25" name="Chevron 24"/>
          <p:cNvSpPr/>
          <p:nvPr/>
        </p:nvSpPr>
        <p:spPr>
          <a:xfrm>
            <a:off x="6909542" y="1987789"/>
            <a:ext cx="981317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10. End-of </a:t>
            </a:r>
            <a:r>
              <a:rPr lang="en-US" sz="800" dirty="0">
                <a:solidFill>
                  <a:srgbClr val="FFFFFF"/>
                </a:solidFill>
              </a:rPr>
              <a:t>life</a:t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dirty="0">
                <a:solidFill>
                  <a:srgbClr val="FFFFFF"/>
                </a:solidFill>
              </a:rPr>
              <a:t>Services</a:t>
            </a:r>
          </a:p>
        </p:txBody>
      </p:sp>
      <p:sp>
        <p:nvSpPr>
          <p:cNvPr id="26" name="Chevron 25"/>
          <p:cNvSpPr/>
          <p:nvPr/>
        </p:nvSpPr>
        <p:spPr>
          <a:xfrm>
            <a:off x="7670789" y="1987789"/>
            <a:ext cx="1061070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790" dirty="0" smtClean="0">
                <a:solidFill>
                  <a:srgbClr val="FFFFFF"/>
                </a:solidFill>
              </a:rPr>
              <a:t>11. Replacement</a:t>
            </a:r>
            <a:endParaRPr lang="en-US" sz="79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395212" y="4087184"/>
            <a:ext cx="792747" cy="274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Benchmarking</a:t>
            </a:r>
          </a:p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and audits</a:t>
            </a:r>
          </a:p>
        </p:txBody>
      </p:sp>
      <p:sp>
        <p:nvSpPr>
          <p:cNvPr id="20496" name="Rectangle 27"/>
          <p:cNvSpPr>
            <a:spLocks noChangeArrowheads="1"/>
          </p:cNvSpPr>
          <p:nvPr/>
        </p:nvSpPr>
        <p:spPr bwMode="auto">
          <a:xfrm>
            <a:off x="1050270" y="2476738"/>
            <a:ext cx="774501" cy="3079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On-site </a:t>
            </a:r>
            <a:endParaRPr lang="en-US" sz="800" dirty="0" smtClean="0"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Training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0497" name="Rectangle 28"/>
          <p:cNvSpPr>
            <a:spLocks noChangeArrowheads="1"/>
          </p:cNvSpPr>
          <p:nvPr/>
        </p:nvSpPr>
        <p:spPr bwMode="auto">
          <a:xfrm>
            <a:off x="1051754" y="2810065"/>
            <a:ext cx="773017" cy="2619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Classroom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Training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1858735" y="3584813"/>
            <a:ext cx="802561" cy="2635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Consumables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1858737" y="2748202"/>
            <a:ext cx="812608" cy="2415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Replacement Parts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1858736" y="3283670"/>
            <a:ext cx="802559" cy="2762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arts Kits</a:t>
            </a:r>
          </a:p>
        </p:txBody>
      </p:sp>
      <p:sp>
        <p:nvSpPr>
          <p:cNvPr id="20507" name="Rectangle 47"/>
          <p:cNvSpPr>
            <a:spLocks noChangeArrowheads="1"/>
          </p:cNvSpPr>
          <p:nvPr/>
        </p:nvSpPr>
        <p:spPr bwMode="auto">
          <a:xfrm>
            <a:off x="4392037" y="3822071"/>
            <a:ext cx="795922" cy="2228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Consulting</a:t>
            </a:r>
          </a:p>
        </p:txBody>
      </p:sp>
      <p:sp>
        <p:nvSpPr>
          <p:cNvPr id="20508" name="Rectangle 48"/>
          <p:cNvSpPr>
            <a:spLocks noChangeArrowheads="1"/>
          </p:cNvSpPr>
          <p:nvPr/>
        </p:nvSpPr>
        <p:spPr bwMode="auto">
          <a:xfrm>
            <a:off x="4393624" y="2490387"/>
            <a:ext cx="794335" cy="239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Engineering</a:t>
            </a:r>
          </a:p>
        </p:txBody>
      </p:sp>
      <p:sp>
        <p:nvSpPr>
          <p:cNvPr id="20510" name="Rectangle 52"/>
          <p:cNvSpPr>
            <a:spLocks noChangeArrowheads="1"/>
          </p:cNvSpPr>
          <p:nvPr/>
        </p:nvSpPr>
        <p:spPr bwMode="auto">
          <a:xfrm>
            <a:off x="6069083" y="2489439"/>
            <a:ext cx="799732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Upgrades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6075433" y="2735500"/>
            <a:ext cx="787444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Software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6075433" y="2981560"/>
            <a:ext cx="787444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Hardware</a:t>
            </a:r>
          </a:p>
        </p:txBody>
      </p:sp>
      <p:sp>
        <p:nvSpPr>
          <p:cNvPr id="20513" name="Rectangle 55"/>
          <p:cNvSpPr>
            <a:spLocks noChangeArrowheads="1"/>
          </p:cNvSpPr>
          <p:nvPr/>
        </p:nvSpPr>
        <p:spPr bwMode="auto">
          <a:xfrm>
            <a:off x="6075433" y="3226033"/>
            <a:ext cx="787444" cy="2301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Extensions</a:t>
            </a:r>
          </a:p>
        </p:txBody>
      </p:sp>
      <p:sp>
        <p:nvSpPr>
          <p:cNvPr id="20514" name="Rectangle 56"/>
          <p:cNvSpPr>
            <a:spLocks noChangeArrowheads="1"/>
          </p:cNvSpPr>
          <p:nvPr/>
        </p:nvSpPr>
        <p:spPr bwMode="auto">
          <a:xfrm>
            <a:off x="6067481" y="3472054"/>
            <a:ext cx="795395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Retrofi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0515" name="Rectangle 58"/>
          <p:cNvSpPr>
            <a:spLocks noChangeArrowheads="1"/>
          </p:cNvSpPr>
          <p:nvPr/>
        </p:nvSpPr>
        <p:spPr bwMode="auto">
          <a:xfrm>
            <a:off x="6909883" y="2476739"/>
            <a:ext cx="79866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790" dirty="0" smtClean="0">
                <a:solidFill>
                  <a:srgbClr val="000000"/>
                </a:solidFill>
              </a:rPr>
              <a:t>Decommissioning</a:t>
            </a:r>
            <a:endParaRPr lang="en-US" sz="790" dirty="0">
              <a:solidFill>
                <a:srgbClr val="000000"/>
              </a:solidFill>
            </a:endParaRPr>
          </a:p>
        </p:txBody>
      </p:sp>
      <p:sp>
        <p:nvSpPr>
          <p:cNvPr id="20516" name="Rectangle 59"/>
          <p:cNvSpPr>
            <a:spLocks noChangeArrowheads="1"/>
          </p:cNvSpPr>
          <p:nvPr/>
        </p:nvSpPr>
        <p:spPr bwMode="auto">
          <a:xfrm>
            <a:off x="6909883" y="2723701"/>
            <a:ext cx="79866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>
                <a:solidFill>
                  <a:srgbClr val="000000"/>
                </a:solidFill>
              </a:rPr>
              <a:t>Resale</a:t>
            </a:r>
          </a:p>
        </p:txBody>
      </p:sp>
      <p:sp>
        <p:nvSpPr>
          <p:cNvPr id="20517" name="Rectangle 60"/>
          <p:cNvSpPr>
            <a:spLocks noChangeArrowheads="1"/>
          </p:cNvSpPr>
          <p:nvPr/>
        </p:nvSpPr>
        <p:spPr bwMode="auto">
          <a:xfrm>
            <a:off x="6909881" y="2971560"/>
            <a:ext cx="792955" cy="2635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isposal and recycling</a:t>
            </a:r>
          </a:p>
        </p:txBody>
      </p:sp>
      <p:sp>
        <p:nvSpPr>
          <p:cNvPr id="20518" name="Rectangle 62"/>
          <p:cNvSpPr>
            <a:spLocks noChangeArrowheads="1"/>
          </p:cNvSpPr>
          <p:nvPr/>
        </p:nvSpPr>
        <p:spPr bwMode="auto">
          <a:xfrm>
            <a:off x="255349" y="2476738"/>
            <a:ext cx="757237" cy="2508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Installation</a:t>
            </a:r>
          </a:p>
        </p:txBody>
      </p:sp>
      <p:sp>
        <p:nvSpPr>
          <p:cNvPr id="20519" name="Rectangle 63"/>
          <p:cNvSpPr>
            <a:spLocks noChangeArrowheads="1"/>
          </p:cNvSpPr>
          <p:nvPr/>
        </p:nvSpPr>
        <p:spPr bwMode="auto">
          <a:xfrm>
            <a:off x="255348" y="2741850"/>
            <a:ext cx="757237" cy="2905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Commissioning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1858736" y="3013314"/>
            <a:ext cx="807584" cy="2448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re-owned parts</a:t>
            </a:r>
          </a:p>
        </p:txBody>
      </p:sp>
      <p:sp>
        <p:nvSpPr>
          <p:cNvPr id="89" name="Rectangle 88"/>
          <p:cNvSpPr/>
          <p:nvPr/>
        </p:nvSpPr>
        <p:spPr bwMode="auto">
          <a:xfrm>
            <a:off x="4390151" y="2757087"/>
            <a:ext cx="79780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lanning and specification</a:t>
            </a:r>
          </a:p>
        </p:txBody>
      </p:sp>
      <p:sp>
        <p:nvSpPr>
          <p:cNvPr id="90" name="Rectangle 89"/>
          <p:cNvSpPr/>
          <p:nvPr/>
        </p:nvSpPr>
        <p:spPr bwMode="auto">
          <a:xfrm>
            <a:off x="4393624" y="3272795"/>
            <a:ext cx="794335" cy="2415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Customization</a:t>
            </a:r>
          </a:p>
        </p:txBody>
      </p:sp>
      <p:sp>
        <p:nvSpPr>
          <p:cNvPr id="20528" name="Rectangle 90"/>
          <p:cNvSpPr>
            <a:spLocks noChangeArrowheads="1"/>
          </p:cNvSpPr>
          <p:nvPr/>
        </p:nvSpPr>
        <p:spPr bwMode="auto">
          <a:xfrm>
            <a:off x="1051754" y="3092782"/>
            <a:ext cx="776194" cy="1695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>
                <a:solidFill>
                  <a:srgbClr val="000000"/>
                </a:solidFill>
              </a:rPr>
              <a:t>E-Learning</a:t>
            </a:r>
          </a:p>
        </p:txBody>
      </p:sp>
      <p:sp>
        <p:nvSpPr>
          <p:cNvPr id="130" name="Rectangle 129"/>
          <p:cNvSpPr/>
          <p:nvPr/>
        </p:nvSpPr>
        <p:spPr bwMode="auto">
          <a:xfrm>
            <a:off x="5237971" y="5523059"/>
            <a:ext cx="795529" cy="25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ata back-up</a:t>
            </a:r>
          </a:p>
        </p:txBody>
      </p:sp>
      <p:sp>
        <p:nvSpPr>
          <p:cNvPr id="131" name="Rectangle 130"/>
          <p:cNvSpPr/>
          <p:nvPr/>
        </p:nvSpPr>
        <p:spPr bwMode="auto">
          <a:xfrm>
            <a:off x="5243615" y="5792131"/>
            <a:ext cx="789885" cy="3102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ata engineering</a:t>
            </a:r>
          </a:p>
        </p:txBody>
      </p:sp>
      <p:sp>
        <p:nvSpPr>
          <p:cNvPr id="20536" name="Rectangle 131"/>
          <p:cNvSpPr>
            <a:spLocks noChangeArrowheads="1"/>
          </p:cNvSpPr>
          <p:nvPr/>
        </p:nvSpPr>
        <p:spPr bwMode="auto">
          <a:xfrm>
            <a:off x="5234563" y="5279961"/>
            <a:ext cx="79893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ata services</a:t>
            </a:r>
          </a:p>
        </p:txBody>
      </p:sp>
      <p:sp>
        <p:nvSpPr>
          <p:cNvPr id="79" name="Chevron 78"/>
          <p:cNvSpPr/>
          <p:nvPr/>
        </p:nvSpPr>
        <p:spPr>
          <a:xfrm>
            <a:off x="2690022" y="1987789"/>
            <a:ext cx="1073285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r>
              <a:rPr lang="en-US" sz="800" kern="0" dirty="0" smtClean="0">
                <a:solidFill>
                  <a:srgbClr val="FFFFFF"/>
                </a:solidFill>
              </a:rPr>
              <a:t>5. Maintenance</a:t>
            </a:r>
            <a:endParaRPr lang="it-IT" sz="800" kern="0" dirty="0" smtClean="0">
              <a:solidFill>
                <a:srgbClr val="FFFFFF"/>
              </a:solidFill>
            </a:endParaRPr>
          </a:p>
        </p:txBody>
      </p:sp>
      <p:cxnSp>
        <p:nvCxnSpPr>
          <p:cNvPr id="103" name="Straight Connector 102"/>
          <p:cNvCxnSpPr/>
          <p:nvPr/>
        </p:nvCxnSpPr>
        <p:spPr>
          <a:xfrm>
            <a:off x="1028971" y="2437052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/>
          <p:cNvSpPr/>
          <p:nvPr/>
        </p:nvSpPr>
        <p:spPr bwMode="auto">
          <a:xfrm>
            <a:off x="4398102" y="3552195"/>
            <a:ext cx="789857" cy="2399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Configurations</a:t>
            </a:r>
          </a:p>
        </p:txBody>
      </p:sp>
      <p:sp>
        <p:nvSpPr>
          <p:cNvPr id="68" name="Rectangle 84"/>
          <p:cNvSpPr>
            <a:spLocks noChangeArrowheads="1"/>
          </p:cNvSpPr>
          <p:nvPr/>
        </p:nvSpPr>
        <p:spPr bwMode="auto">
          <a:xfrm>
            <a:off x="1866515" y="4165911"/>
            <a:ext cx="791957" cy="3797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Extended warrant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/>
          <p:nvPr/>
        </p:nvSpPr>
        <p:spPr bwMode="auto">
          <a:xfrm>
            <a:off x="4407590" y="3013642"/>
            <a:ext cx="780370" cy="2355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System integration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5234401" y="3231461"/>
            <a:ext cx="812036" cy="2723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Op. excellence reliabilit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7" name="Rectangle 76"/>
          <p:cNvSpPr/>
          <p:nvPr/>
        </p:nvSpPr>
        <p:spPr bwMode="auto">
          <a:xfrm>
            <a:off x="5234401" y="2946398"/>
            <a:ext cx="812036" cy="2704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Asset optimization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5234401" y="3513625"/>
            <a:ext cx="812036" cy="1971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Process safet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5234401" y="4014627"/>
            <a:ext cx="812036" cy="26259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System performanc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5234401" y="3726801"/>
            <a:ext cx="812036" cy="2730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Environmental complianc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7" name="Rectangle 86"/>
          <p:cNvSpPr/>
          <p:nvPr/>
        </p:nvSpPr>
        <p:spPr bwMode="auto">
          <a:xfrm>
            <a:off x="5234771" y="4291549"/>
            <a:ext cx="811666" cy="2002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700" dirty="0" smtClean="0">
                <a:solidFill>
                  <a:srgbClr val="000000"/>
                </a:solidFill>
              </a:rPr>
              <a:t>Holistic Efficiency Enhancement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88" name="Rectangle 87"/>
          <p:cNvSpPr/>
          <p:nvPr/>
        </p:nvSpPr>
        <p:spPr bwMode="auto">
          <a:xfrm>
            <a:off x="5234771" y="4755578"/>
            <a:ext cx="811666" cy="183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Cyber Securit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1" name="Rectangle 90"/>
          <p:cNvSpPr/>
          <p:nvPr/>
        </p:nvSpPr>
        <p:spPr bwMode="auto">
          <a:xfrm>
            <a:off x="5234771" y="4501577"/>
            <a:ext cx="811666" cy="240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Maintenance Managemen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4395871" y="4402584"/>
            <a:ext cx="799419" cy="2566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Project managemen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4" name="Rectangle 47"/>
          <p:cNvSpPr>
            <a:spLocks noChangeArrowheads="1"/>
          </p:cNvSpPr>
          <p:nvPr/>
        </p:nvSpPr>
        <p:spPr bwMode="auto">
          <a:xfrm>
            <a:off x="5240242" y="4952586"/>
            <a:ext cx="799970" cy="3176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Software as a servic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13" name="Chevron 112"/>
          <p:cNvSpPr/>
          <p:nvPr/>
        </p:nvSpPr>
        <p:spPr>
          <a:xfrm>
            <a:off x="5212365" y="1987120"/>
            <a:ext cx="1055365" cy="477839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8. Advanced Services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17" name="Rectangle 116"/>
          <p:cNvSpPr/>
          <p:nvPr/>
        </p:nvSpPr>
        <p:spPr bwMode="auto">
          <a:xfrm>
            <a:off x="2732836" y="2492896"/>
            <a:ext cx="774457" cy="2784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reventive maintenance</a:t>
            </a:r>
          </a:p>
        </p:txBody>
      </p:sp>
      <p:sp>
        <p:nvSpPr>
          <p:cNvPr id="119" name="Rectangle 118"/>
          <p:cNvSpPr/>
          <p:nvPr/>
        </p:nvSpPr>
        <p:spPr bwMode="auto">
          <a:xfrm>
            <a:off x="2732836" y="2787948"/>
            <a:ext cx="774457" cy="2921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redictive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maintenance</a:t>
            </a:r>
          </a:p>
        </p:txBody>
      </p:sp>
      <p:sp>
        <p:nvSpPr>
          <p:cNvPr id="120" name="Rectangle 121"/>
          <p:cNvSpPr>
            <a:spLocks noChangeArrowheads="1"/>
          </p:cNvSpPr>
          <p:nvPr/>
        </p:nvSpPr>
        <p:spPr bwMode="auto">
          <a:xfrm>
            <a:off x="2732836" y="3101400"/>
            <a:ext cx="774457" cy="2733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On-site condition monitoring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21" name="Rectangle 120"/>
          <p:cNvSpPr/>
          <p:nvPr/>
        </p:nvSpPr>
        <p:spPr bwMode="auto">
          <a:xfrm>
            <a:off x="2732836" y="3671753"/>
            <a:ext cx="774457" cy="2485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Life cycle </a:t>
            </a:r>
            <a:r>
              <a:rPr lang="en-US" sz="800" dirty="0">
                <a:solidFill>
                  <a:srgbClr val="000000"/>
                </a:solidFill>
              </a:rPr>
              <a:t>assessment</a:t>
            </a:r>
          </a:p>
        </p:txBody>
      </p:sp>
      <p:sp>
        <p:nvSpPr>
          <p:cNvPr id="122" name="Rectangle 121"/>
          <p:cNvSpPr/>
          <p:nvPr/>
        </p:nvSpPr>
        <p:spPr bwMode="auto">
          <a:xfrm>
            <a:off x="3558130" y="2741660"/>
            <a:ext cx="767427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Workshop repair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24" name="Rectangle 123"/>
          <p:cNvSpPr/>
          <p:nvPr/>
        </p:nvSpPr>
        <p:spPr bwMode="auto">
          <a:xfrm>
            <a:off x="3557261" y="2997246"/>
            <a:ext cx="761087" cy="4929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Refurbishment/</a:t>
            </a:r>
          </a:p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Reconditioning</a:t>
            </a:r>
          </a:p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services</a:t>
            </a:r>
            <a:endParaRPr lang="en-US" sz="800" strike="sngStrike" dirty="0">
              <a:solidFill>
                <a:srgbClr val="000000"/>
              </a:solidFill>
            </a:endParaRPr>
          </a:p>
        </p:txBody>
      </p:sp>
      <p:sp>
        <p:nvSpPr>
          <p:cNvPr id="125" name="Rectangle 124"/>
          <p:cNvSpPr/>
          <p:nvPr/>
        </p:nvSpPr>
        <p:spPr bwMode="auto">
          <a:xfrm>
            <a:off x="3553798" y="4425967"/>
            <a:ext cx="773223" cy="39505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Remote</a:t>
            </a:r>
          </a:p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Trouble-shooting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26" name="Rectangle 83"/>
          <p:cNvSpPr>
            <a:spLocks noChangeArrowheads="1"/>
          </p:cNvSpPr>
          <p:nvPr/>
        </p:nvSpPr>
        <p:spPr bwMode="auto">
          <a:xfrm>
            <a:off x="3553797" y="2486072"/>
            <a:ext cx="773223" cy="2271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Repair </a:t>
            </a:r>
            <a:r>
              <a:rPr lang="en-US" sz="800" dirty="0">
                <a:solidFill>
                  <a:srgbClr val="000000"/>
                </a:solidFill>
              </a:rPr>
              <a:t>services</a:t>
            </a:r>
          </a:p>
        </p:txBody>
      </p:sp>
      <p:sp>
        <p:nvSpPr>
          <p:cNvPr id="128" name="Rectangle 29"/>
          <p:cNvSpPr>
            <a:spLocks noChangeArrowheads="1"/>
          </p:cNvSpPr>
          <p:nvPr/>
        </p:nvSpPr>
        <p:spPr bwMode="auto">
          <a:xfrm>
            <a:off x="3547283" y="4103023"/>
            <a:ext cx="776269" cy="3018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Technical </a:t>
            </a:r>
            <a:r>
              <a:rPr lang="en-US" sz="800" dirty="0" smtClean="0">
                <a:solidFill>
                  <a:srgbClr val="000000"/>
                </a:solidFill>
              </a:rPr>
              <a:t>support </a:t>
            </a:r>
            <a:endParaRPr lang="en-US" sz="800" dirty="0">
              <a:solidFill>
                <a:srgbClr val="FF000F"/>
              </a:solidFill>
            </a:endParaRPr>
          </a:p>
        </p:txBody>
      </p:sp>
      <p:sp>
        <p:nvSpPr>
          <p:cNvPr id="133" name="Rectangle 132"/>
          <p:cNvSpPr/>
          <p:nvPr/>
        </p:nvSpPr>
        <p:spPr bwMode="auto">
          <a:xfrm>
            <a:off x="2732836" y="3931953"/>
            <a:ext cx="774964" cy="2879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Inspections &amp; diagnostics</a:t>
            </a:r>
          </a:p>
        </p:txBody>
      </p:sp>
      <p:sp>
        <p:nvSpPr>
          <p:cNvPr id="136" name="Rectangle 121"/>
          <p:cNvSpPr>
            <a:spLocks noChangeArrowheads="1"/>
          </p:cNvSpPr>
          <p:nvPr/>
        </p:nvSpPr>
        <p:spPr bwMode="auto">
          <a:xfrm>
            <a:off x="2737198" y="3384436"/>
            <a:ext cx="774457" cy="2733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780" dirty="0" smtClean="0">
                <a:solidFill>
                  <a:srgbClr val="000000"/>
                </a:solidFill>
              </a:rPr>
              <a:t>Remote condition monitoring</a:t>
            </a:r>
            <a:endParaRPr lang="en-US" sz="780" dirty="0">
              <a:solidFill>
                <a:srgbClr val="000000"/>
              </a:solidFill>
            </a:endParaRPr>
          </a:p>
        </p:txBody>
      </p:sp>
      <p:cxnSp>
        <p:nvCxnSpPr>
          <p:cNvPr id="138" name="Straight Connector 137"/>
          <p:cNvCxnSpPr/>
          <p:nvPr/>
        </p:nvCxnSpPr>
        <p:spPr>
          <a:xfrm>
            <a:off x="1835442" y="2441145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/>
          <p:nvPr/>
        </p:nvCxnSpPr>
        <p:spPr>
          <a:xfrm>
            <a:off x="2699089" y="2446736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/>
        </p:nvCxnSpPr>
        <p:spPr>
          <a:xfrm>
            <a:off x="3531381" y="2446736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4355273" y="2448151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5211418" y="2447969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/>
        </p:nvCxnSpPr>
        <p:spPr>
          <a:xfrm>
            <a:off x="6059612" y="2453560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/>
        </p:nvCxnSpPr>
        <p:spPr>
          <a:xfrm>
            <a:off x="6883953" y="2446736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/>
          <p:nvPr/>
        </p:nvCxnSpPr>
        <p:spPr>
          <a:xfrm>
            <a:off x="7715796" y="2448151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hevron 83"/>
          <p:cNvSpPr/>
          <p:nvPr/>
        </p:nvSpPr>
        <p:spPr>
          <a:xfrm>
            <a:off x="3559385" y="1989331"/>
            <a:ext cx="959092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6. Repairs</a:t>
            </a:r>
            <a:endParaRPr lang="it-IT" sz="800" dirty="0" smtClean="0">
              <a:solidFill>
                <a:srgbClr val="FFFFFF"/>
              </a:solidFill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1868784" y="3877946"/>
            <a:ext cx="802561" cy="2635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Exchange uni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3" name="Rectangle 92"/>
          <p:cNvSpPr/>
          <p:nvPr/>
        </p:nvSpPr>
        <p:spPr bwMode="auto">
          <a:xfrm>
            <a:off x="7737741" y="2480471"/>
            <a:ext cx="741241" cy="23897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Replacemen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7" name="Rectangle 96"/>
          <p:cNvSpPr/>
          <p:nvPr/>
        </p:nvSpPr>
        <p:spPr bwMode="auto">
          <a:xfrm>
            <a:off x="251520" y="3071750"/>
            <a:ext cx="756870" cy="2480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Simulation</a:t>
            </a:r>
          </a:p>
        </p:txBody>
      </p:sp>
      <p:sp>
        <p:nvSpPr>
          <p:cNvPr id="99" name="Rectangle 98"/>
          <p:cNvSpPr/>
          <p:nvPr/>
        </p:nvSpPr>
        <p:spPr bwMode="auto">
          <a:xfrm>
            <a:off x="251520" y="3374121"/>
            <a:ext cx="756870" cy="2800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Programming services</a:t>
            </a:r>
          </a:p>
        </p:txBody>
      </p:sp>
      <p:sp>
        <p:nvSpPr>
          <p:cNvPr id="101" name="Rectangle 4"/>
          <p:cNvSpPr>
            <a:spLocks noChangeArrowheads="1"/>
          </p:cNvSpPr>
          <p:nvPr/>
        </p:nvSpPr>
        <p:spPr bwMode="auto">
          <a:xfrm>
            <a:off x="1858737" y="2483088"/>
            <a:ext cx="812608" cy="2391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Spare parts</a:t>
            </a:r>
          </a:p>
        </p:txBody>
      </p:sp>
      <p:sp>
        <p:nvSpPr>
          <p:cNvPr id="106" name="Rectangle 84"/>
          <p:cNvSpPr>
            <a:spLocks noChangeArrowheads="1"/>
          </p:cNvSpPr>
          <p:nvPr/>
        </p:nvSpPr>
        <p:spPr bwMode="auto">
          <a:xfrm>
            <a:off x="1866515" y="4563048"/>
            <a:ext cx="799805" cy="436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arts and inventory  management </a:t>
            </a:r>
          </a:p>
        </p:txBody>
      </p:sp>
      <p:sp>
        <p:nvSpPr>
          <p:cNvPr id="107" name="Rectangle 48"/>
          <p:cNvSpPr>
            <a:spLocks noChangeArrowheads="1"/>
          </p:cNvSpPr>
          <p:nvPr/>
        </p:nvSpPr>
        <p:spPr bwMode="auto">
          <a:xfrm>
            <a:off x="5232291" y="2492129"/>
            <a:ext cx="814145" cy="4349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Performance improvement  Service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/>
          <p:nvPr/>
        </p:nvSpPr>
        <p:spPr bwMode="auto">
          <a:xfrm>
            <a:off x="3559689" y="3514168"/>
            <a:ext cx="767427" cy="2714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On-site repair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2" name="Rectangle 91"/>
          <p:cNvSpPr/>
          <p:nvPr/>
        </p:nvSpPr>
        <p:spPr bwMode="auto">
          <a:xfrm>
            <a:off x="3555880" y="3816696"/>
            <a:ext cx="767427" cy="2714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Corrective maintenance</a:t>
            </a: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056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mph" presetSubtype="0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6" dur="10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0953" y="4657221"/>
            <a:ext cx="2274429" cy="2071124"/>
          </a:xfrm>
          <a:prstGeom prst="roundRect">
            <a:avLst>
              <a:gd name="adj" fmla="val 7375"/>
            </a:avLst>
          </a:prstGeom>
          <a:solidFill>
            <a:schemeClr val="bg1"/>
          </a:solidFill>
          <a:ln w="28575" algn="ctr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43233" y="4657221"/>
            <a:ext cx="2219837" cy="2071124"/>
          </a:xfrm>
          <a:prstGeom prst="roundRect">
            <a:avLst>
              <a:gd name="adj" fmla="val 7375"/>
            </a:avLst>
          </a:prstGeom>
          <a:solidFill>
            <a:schemeClr val="bg1"/>
          </a:solidFill>
          <a:ln w="28575" algn="ctr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0287" y="4678498"/>
            <a:ext cx="2164423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 smtClean="0">
                <a:solidFill>
                  <a:srgbClr val="000000"/>
                </a:solidFill>
              </a:rPr>
              <a:t>Switchyard </a:t>
            </a:r>
          </a:p>
          <a:p>
            <a:pPr marL="171450" indent="-171450"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 smtClean="0">
                <a:solidFill>
                  <a:srgbClr val="000000"/>
                </a:solidFill>
              </a:rPr>
              <a:t>HV, MV, LV </a:t>
            </a:r>
            <a:r>
              <a:rPr lang="en-US" sz="1400" dirty="0">
                <a:solidFill>
                  <a:srgbClr val="000000"/>
                </a:solidFill>
              </a:rPr>
              <a:t>systems </a:t>
            </a:r>
            <a:r>
              <a:rPr lang="en-US" sz="1400" dirty="0" smtClean="0">
                <a:solidFill>
                  <a:srgbClr val="000000"/>
                </a:solidFill>
              </a:rPr>
              <a:t>&amp; </a:t>
            </a:r>
            <a:r>
              <a:rPr lang="en-US" sz="1400" dirty="0">
                <a:solidFill>
                  <a:srgbClr val="000000"/>
                </a:solidFill>
              </a:rPr>
              <a:t>equipment</a:t>
            </a:r>
          </a:p>
          <a:p>
            <a:pPr marL="171450" indent="-171450"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</a:rPr>
              <a:t>Protection </a:t>
            </a:r>
            <a:r>
              <a:rPr lang="en-US" sz="1400" dirty="0" smtClean="0">
                <a:solidFill>
                  <a:srgbClr val="000000"/>
                </a:solidFill>
              </a:rPr>
              <a:t>systems</a:t>
            </a:r>
          </a:p>
          <a:p>
            <a:pPr marL="171450" indent="-171450"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 smtClean="0">
                <a:solidFill>
                  <a:srgbClr val="000000"/>
                </a:solidFill>
              </a:rPr>
              <a:t>PF improvement &amp; harmonic filters</a:t>
            </a:r>
          </a:p>
        </p:txBody>
      </p:sp>
      <p:sp>
        <p:nvSpPr>
          <p:cNvPr id="10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0287" y="1185998"/>
            <a:ext cx="2164424" cy="329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10286" y="4119563"/>
            <a:ext cx="2164425" cy="376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182563" indent="-182563" algn="ctr">
              <a:spcBef>
                <a:spcPct val="50000"/>
              </a:spcBef>
              <a:buClr>
                <a:srgbClr val="002897"/>
              </a:buClr>
              <a:buSzPct val="70000"/>
              <a:buFont typeface="Wingdings" pitchFamily="2" charset="2"/>
              <a:buNone/>
            </a:pPr>
            <a:r>
              <a:rPr lang="de-DE" sz="1200" b="1" dirty="0" smtClean="0">
                <a:solidFill>
                  <a:srgbClr val="FFFFFF"/>
                </a:solidFill>
              </a:rPr>
              <a:t>Power</a:t>
            </a:r>
            <a:endParaRPr lang="de-DE" sz="1200" b="1" dirty="0">
              <a:solidFill>
                <a:srgbClr val="FFFFFF"/>
              </a:solidFill>
            </a:endParaRPr>
          </a:p>
        </p:txBody>
      </p:sp>
      <p:sp>
        <p:nvSpPr>
          <p:cNvPr id="13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88642" y="1196471"/>
            <a:ext cx="2274428" cy="32813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85467" y="4111121"/>
            <a:ext cx="2277603" cy="376237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182563" indent="-182563" algn="ctr">
              <a:spcBef>
                <a:spcPct val="50000"/>
              </a:spcBef>
              <a:buClr>
                <a:srgbClr val="002897"/>
              </a:buClr>
              <a:buSzPct val="70000"/>
              <a:buFont typeface="Wingdings" pitchFamily="2" charset="2"/>
              <a:buNone/>
            </a:pPr>
            <a:r>
              <a:rPr lang="de-DE" sz="1200" b="1" dirty="0" smtClean="0">
                <a:solidFill>
                  <a:srgbClr val="FFFFFF"/>
                </a:solidFill>
              </a:rPr>
              <a:t>Energy Efficiency</a:t>
            </a:r>
            <a:endParaRPr lang="de-DE" sz="1200" b="1" dirty="0">
              <a:solidFill>
                <a:srgbClr val="FFFFFF"/>
              </a:solidFill>
            </a:endParaRPr>
          </a:p>
        </p:txBody>
      </p:sp>
      <p:sp>
        <p:nvSpPr>
          <p:cNvPr id="17" name="Rectangle 1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700396" y="4692146"/>
            <a:ext cx="1795363" cy="1400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171450" indent="-171450">
              <a:spcBef>
                <a:spcPct val="50000"/>
              </a:spcBef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 smtClean="0">
                <a:solidFill>
                  <a:srgbClr val="000000"/>
                </a:solidFill>
              </a:rPr>
              <a:t>Machines &amp; Motors</a:t>
            </a:r>
          </a:p>
          <a:p>
            <a:pPr marL="171450" indent="-171450">
              <a:spcBef>
                <a:spcPct val="50000"/>
              </a:spcBef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 smtClean="0">
                <a:solidFill>
                  <a:srgbClr val="000000"/>
                </a:solidFill>
              </a:rPr>
              <a:t>VVVF Drives</a:t>
            </a:r>
          </a:p>
          <a:p>
            <a:pPr marL="171450" indent="-171450">
              <a:spcBef>
                <a:spcPct val="50000"/>
              </a:spcBef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 smtClean="0">
                <a:solidFill>
                  <a:srgbClr val="000000"/>
                </a:solidFill>
              </a:rPr>
              <a:t>Soft-starters</a:t>
            </a:r>
          </a:p>
          <a:p>
            <a:pPr marL="171450" indent="-171450">
              <a:spcBef>
                <a:spcPct val="50000"/>
              </a:spcBef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 smtClean="0">
                <a:solidFill>
                  <a:srgbClr val="000000"/>
                </a:solidFill>
              </a:rPr>
              <a:t>Energy savings and </a:t>
            </a:r>
            <a:br>
              <a:rPr lang="en-US" sz="1400" dirty="0" smtClean="0">
                <a:solidFill>
                  <a:srgbClr val="000000"/>
                </a:solidFill>
              </a:rPr>
            </a:br>
            <a:r>
              <a:rPr lang="en-US" sz="1400" dirty="0" smtClean="0">
                <a:solidFill>
                  <a:srgbClr val="000000"/>
                </a:solidFill>
              </a:rPr>
              <a:t>audits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8" name="AutoShape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98491" y="4643573"/>
            <a:ext cx="1840795" cy="2084772"/>
          </a:xfrm>
          <a:prstGeom prst="roundRect">
            <a:avLst>
              <a:gd name="adj" fmla="val 7375"/>
            </a:avLst>
          </a:prstGeom>
          <a:solidFill>
            <a:schemeClr val="bg1"/>
          </a:solidFill>
          <a:ln w="28575" algn="ctr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9" name="AutoShape 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987086" y="4643572"/>
            <a:ext cx="1918682" cy="2084773"/>
          </a:xfrm>
          <a:prstGeom prst="roundRect">
            <a:avLst>
              <a:gd name="adj" fmla="val 7375"/>
            </a:avLst>
          </a:prstGeom>
          <a:solidFill>
            <a:schemeClr val="bg1"/>
          </a:solidFill>
          <a:ln w="28575" algn="ctr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055702" y="4675323"/>
            <a:ext cx="1850066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 smtClean="0">
                <a:solidFill>
                  <a:srgbClr val="000000"/>
                </a:solidFill>
              </a:rPr>
              <a:t>SCADA systems</a:t>
            </a:r>
            <a:endParaRPr lang="en-US" sz="1400" dirty="0">
              <a:solidFill>
                <a:srgbClr val="000000"/>
              </a:solidFill>
            </a:endParaRPr>
          </a:p>
          <a:p>
            <a:pPr marL="171450" indent="-171450"/>
            <a:r>
              <a:rPr lang="en-US" sz="1400" dirty="0" smtClean="0">
                <a:solidFill>
                  <a:srgbClr val="000000"/>
                </a:solidFill>
              </a:rPr>
              <a:t>DCS / PLC solutions</a:t>
            </a:r>
          </a:p>
          <a:p>
            <a:pPr marL="171450" indent="-171450"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 smtClean="0">
                <a:solidFill>
                  <a:srgbClr val="000000"/>
                </a:solidFill>
              </a:rPr>
              <a:t>Optimization </a:t>
            </a:r>
            <a:r>
              <a:rPr lang="en-US" sz="1400" dirty="0">
                <a:solidFill>
                  <a:srgbClr val="000000"/>
                </a:solidFill>
              </a:rPr>
              <a:t>tools </a:t>
            </a:r>
          </a:p>
          <a:p>
            <a:pPr marL="171450" indent="-171450"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</a:rPr>
              <a:t>Asset </a:t>
            </a:r>
            <a:r>
              <a:rPr lang="en-US" sz="1400" dirty="0" smtClean="0">
                <a:solidFill>
                  <a:srgbClr val="000000"/>
                </a:solidFill>
              </a:rPr>
              <a:t>management</a:t>
            </a:r>
          </a:p>
          <a:p>
            <a:pPr marL="171450" indent="-171450"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 smtClean="0">
                <a:solidFill>
                  <a:srgbClr val="000000"/>
                </a:solidFill>
              </a:rPr>
              <a:t>Remote monitoring  &amp; diagnostic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1" name="Rectangle 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997559" y="1196471"/>
            <a:ext cx="1908209" cy="329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2" name="Rectangle 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997559" y="4081463"/>
            <a:ext cx="1908209" cy="414337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182563" indent="-182563" algn="ctr">
              <a:lnSpc>
                <a:spcPct val="90000"/>
              </a:lnSpc>
              <a:spcBef>
                <a:spcPct val="50000"/>
              </a:spcBef>
              <a:buClr>
                <a:srgbClr val="002897"/>
              </a:buClr>
              <a:buSzPct val="70000"/>
              <a:buFont typeface="Wingdings" pitchFamily="2" charset="2"/>
              <a:buNone/>
            </a:pPr>
            <a:r>
              <a:rPr lang="en-US" sz="1200" b="1" dirty="0">
                <a:solidFill>
                  <a:srgbClr val="FFFFFF"/>
                </a:solidFill>
              </a:rPr>
              <a:t>I</a:t>
            </a:r>
            <a:r>
              <a:rPr lang="en-US" sz="1200" b="1" dirty="0" smtClean="0">
                <a:solidFill>
                  <a:srgbClr val="FFFFFF"/>
                </a:solidFill>
              </a:rPr>
              <a:t>ntelligent Operation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23" name="Rectangle 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08964" y="1185998"/>
            <a:ext cx="1840794" cy="32813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4" name="Rectangle 1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08964" y="4059373"/>
            <a:ext cx="1830322" cy="414337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182563" indent="-182563" algn="ctr">
              <a:spcBef>
                <a:spcPct val="50000"/>
              </a:spcBef>
              <a:buClr>
                <a:srgbClr val="002897"/>
              </a:buClr>
              <a:buSzPct val="70000"/>
              <a:buFont typeface="Wingdings" pitchFamily="2" charset="2"/>
              <a:buNone/>
            </a:pPr>
            <a:r>
              <a:rPr lang="de-DE" sz="1200" b="1" dirty="0" smtClean="0">
                <a:solidFill>
                  <a:srgbClr val="FFFFFF"/>
                </a:solidFill>
              </a:rPr>
              <a:t>Measurements</a:t>
            </a:r>
            <a:endParaRPr lang="de-DE" sz="1200" b="1" dirty="0">
              <a:solidFill>
                <a:srgbClr val="FFFFFF"/>
              </a:solidFill>
            </a:endParaRPr>
          </a:p>
        </p:txBody>
      </p:sp>
      <p:sp>
        <p:nvSpPr>
          <p:cNvPr id="26" name="Rectangle 1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125703" y="4733421"/>
            <a:ext cx="1813583" cy="1421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71450" indent="-171450">
              <a:lnSpc>
                <a:spcPct val="85000"/>
              </a:lnSpc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</a:rPr>
              <a:t>Flow meters </a:t>
            </a:r>
          </a:p>
          <a:p>
            <a:pPr marL="171450" indent="-171450">
              <a:lnSpc>
                <a:spcPct val="85000"/>
              </a:lnSpc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</a:rPr>
              <a:t>Quality analyzers </a:t>
            </a:r>
          </a:p>
          <a:p>
            <a:pPr marL="171450" indent="-171450">
              <a:lnSpc>
                <a:spcPct val="85000"/>
              </a:lnSpc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</a:rPr>
              <a:t>Pressure, level </a:t>
            </a:r>
            <a:r>
              <a:rPr lang="en-US" sz="1400" dirty="0" smtClean="0">
                <a:solidFill>
                  <a:srgbClr val="000000"/>
                </a:solidFill>
              </a:rPr>
              <a:t>&amp; temperature </a:t>
            </a:r>
            <a:r>
              <a:rPr lang="en-US" sz="1400" dirty="0">
                <a:solidFill>
                  <a:srgbClr val="000000"/>
                </a:solidFill>
              </a:rPr>
              <a:t>meters</a:t>
            </a:r>
          </a:p>
          <a:p>
            <a:pPr marL="171450" indent="-171450">
              <a:lnSpc>
                <a:spcPct val="85000"/>
              </a:lnSpc>
              <a:buClr>
                <a:srgbClr val="002897"/>
              </a:buClr>
              <a:buSzPct val="70000"/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</a:rPr>
              <a:t>Indicators, recorders </a:t>
            </a:r>
            <a:r>
              <a:rPr lang="en-US" sz="1400" dirty="0" smtClean="0">
                <a:solidFill>
                  <a:srgbClr val="000000"/>
                </a:solidFill>
              </a:rPr>
              <a:t>&amp; controllers</a:t>
            </a:r>
            <a:endParaRPr lang="en-US" sz="1400" dirty="0">
              <a:solidFill>
                <a:srgbClr val="000000"/>
              </a:solidFill>
            </a:endParaRPr>
          </a:p>
        </p:txBody>
      </p:sp>
      <p:pic>
        <p:nvPicPr>
          <p:cNvPr id="27" name="Picture 13" descr="AquaMaster bis"/>
          <p:cNvPicPr>
            <a:picLocks noChangeArrowheads="1"/>
          </p:cNvPicPr>
          <p:nvPr>
            <p:custDataLst>
              <p:tags r:id="rId17"/>
            </p:custDataLst>
          </p:nvPr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25703" y="1235519"/>
            <a:ext cx="1604962" cy="283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2" descr="Nuovi Motori LV bis copy"/>
          <p:cNvPicPr>
            <a:picLocks noChangeArrowheads="1"/>
          </p:cNvPicPr>
          <p:nvPr>
            <p:custDataLst>
              <p:tags r:id="rId18"/>
            </p:custDataLst>
          </p:nvPr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514042" y="1218696"/>
            <a:ext cx="2126198" cy="157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3" descr="ST_5692"/>
          <p:cNvPicPr>
            <a:picLocks noChangeArrowheads="1"/>
          </p:cNvPicPr>
          <p:nvPr>
            <p:custDataLst>
              <p:tags r:id="rId19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4254" y="2749046"/>
            <a:ext cx="1695986" cy="135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1" y="1194225"/>
            <a:ext cx="2158809" cy="2910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7086" y="1196471"/>
            <a:ext cx="1918682" cy="2862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Titel 19"/>
          <p:cNvSpPr txBox="1">
            <a:spLocks/>
          </p:cNvSpPr>
          <p:nvPr/>
        </p:nvSpPr>
        <p:spPr>
          <a:xfrm>
            <a:off x="0" y="0"/>
            <a:ext cx="9144000" cy="1161899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002897"/>
                </a:solidFill>
              </a:rPr>
              <a:t>ABB’s full product &amp; service </a:t>
            </a:r>
            <a:r>
              <a:rPr lang="en-US" smtClean="0">
                <a:solidFill>
                  <a:srgbClr val="002897"/>
                </a:solidFill>
              </a:rPr>
              <a:t>portfolio</a:t>
            </a:r>
            <a:endParaRPr lang="en-US">
              <a:solidFill>
                <a:srgbClr val="0028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5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765175" lvl="3" indent="0">
              <a:spcBef>
                <a:spcPts val="300"/>
              </a:spcBef>
              <a:buNone/>
            </a:pPr>
            <a:endParaRPr lang="en-US" altLang="ja-JP" sz="1600" dirty="0"/>
          </a:p>
          <a:p>
            <a:pPr marL="225425" lvl="1">
              <a:lnSpc>
                <a:spcPct val="250000"/>
              </a:lnSpc>
              <a:spcBef>
                <a:spcPts val="300"/>
              </a:spcBef>
            </a:pPr>
            <a:endParaRPr lang="en-US" altLang="ja-JP" sz="1600" dirty="0"/>
          </a:p>
          <a:p>
            <a:pPr marL="225425" lvl="1">
              <a:lnSpc>
                <a:spcPct val="250000"/>
              </a:lnSpc>
              <a:spcBef>
                <a:spcPts val="300"/>
              </a:spcBef>
            </a:pPr>
            <a:endParaRPr lang="en-US" altLang="ja-JP" sz="1600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pPr marL="225425" lvl="1">
              <a:spcBef>
                <a:spcPts val="300"/>
              </a:spcBef>
            </a:pPr>
            <a:r>
              <a:rPr lang="en-US" altLang="ja-JP" sz="1600" dirty="0"/>
              <a:t>Health checks &amp; condition monitoring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RLA &amp; LEAP for electrical Static equipment 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Machines &amp; Motors 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Control systems for boiler</a:t>
            </a:r>
          </a:p>
          <a:p>
            <a:pPr marL="582613" lvl="2">
              <a:spcBef>
                <a:spcPts val="300"/>
              </a:spcBef>
            </a:pPr>
            <a:endParaRPr lang="en-US" altLang="ja-JP" dirty="0"/>
          </a:p>
          <a:p>
            <a:pPr marL="225425" lvl="1">
              <a:spcBef>
                <a:spcPts val="300"/>
              </a:spcBef>
            </a:pPr>
            <a:r>
              <a:rPr lang="en-US" altLang="ja-JP" sz="1600" dirty="0"/>
              <a:t>Retrofit, Upgrades and expansions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HT breakers, transformers, CT/CVT, PT &amp; LA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Protection systems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MV / LV Switchgear 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Machines &amp; Motors</a:t>
            </a:r>
          </a:p>
          <a:p>
            <a:pPr marL="582613" lvl="2">
              <a:spcBef>
                <a:spcPts val="300"/>
              </a:spcBef>
              <a:buNone/>
            </a:pPr>
            <a:endParaRPr lang="en-US" altLang="ja-JP" dirty="0"/>
          </a:p>
          <a:p>
            <a:pPr marL="225425" lvl="1">
              <a:spcBef>
                <a:spcPts val="300"/>
              </a:spcBef>
            </a:pPr>
            <a:r>
              <a:rPr lang="en-US" altLang="ja-JP" sz="1600" dirty="0"/>
              <a:t>Measurement, monitoring &amp; optimization</a:t>
            </a:r>
          </a:p>
          <a:p>
            <a:pPr marL="693738" lvl="2" indent="-285750">
              <a:spcBef>
                <a:spcPts val="300"/>
              </a:spcBef>
            </a:pPr>
            <a:r>
              <a:rPr lang="en-US" altLang="ja-JP" dirty="0"/>
              <a:t>Flow, pH, water quality</a:t>
            </a:r>
          </a:p>
          <a:p>
            <a:pPr marL="693738" lvl="2" indent="-285750">
              <a:spcBef>
                <a:spcPts val="300"/>
              </a:spcBef>
            </a:pPr>
            <a:r>
              <a:rPr lang="en-US" altLang="ja-JP" dirty="0"/>
              <a:t>SCADA and DCS </a:t>
            </a:r>
          </a:p>
          <a:p>
            <a:pPr marL="693738" lvl="2" indent="-285750">
              <a:spcBef>
                <a:spcPts val="300"/>
              </a:spcBef>
            </a:pPr>
            <a:r>
              <a:rPr lang="en-US" altLang="ja-JP" dirty="0"/>
              <a:t>Asset monitoring &amp; management (leak detection, filters, </a:t>
            </a:r>
            <a:r>
              <a:rPr lang="en-US" altLang="ja-JP" dirty="0" smtClean="0"/>
              <a:t>pumps)</a:t>
            </a:r>
            <a:endParaRPr lang="en-US" altLang="ja-JP" dirty="0"/>
          </a:p>
          <a:p>
            <a:pPr marL="693738" lvl="2" indent="-285750">
              <a:spcBef>
                <a:spcPts val="300"/>
              </a:spcBef>
            </a:pPr>
            <a:r>
              <a:rPr lang="en-US" altLang="ja-JP" dirty="0"/>
              <a:t>Smart distribution &amp; </a:t>
            </a:r>
            <a:r>
              <a:rPr lang="en-US" altLang="ja-JP" dirty="0" smtClean="0"/>
              <a:t>metering</a:t>
            </a:r>
            <a:endParaRPr lang="en-US" altLang="ja-JP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5" descr="Maintenan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082" y="1447800"/>
            <a:ext cx="2418118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4582" y="3878263"/>
            <a:ext cx="2405418" cy="2598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9"/>
          <p:cNvSpPr txBox="1">
            <a:spLocks/>
          </p:cNvSpPr>
          <p:nvPr/>
        </p:nvSpPr>
        <p:spPr>
          <a:xfrm>
            <a:off x="0" y="0"/>
            <a:ext cx="9144000" cy="1161899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002897"/>
                </a:solidFill>
              </a:rPr>
              <a:t>ABB’s full product &amp; service </a:t>
            </a:r>
            <a:r>
              <a:rPr lang="en-US" smtClean="0">
                <a:solidFill>
                  <a:srgbClr val="002897"/>
                </a:solidFill>
              </a:rPr>
              <a:t>portfolio</a:t>
            </a:r>
            <a:endParaRPr lang="en-US">
              <a:solidFill>
                <a:srgbClr val="0028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058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3" descr="VICE_115.jpg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800" y="3979636"/>
            <a:ext cx="3024188" cy="2016125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53975" lvl="1" indent="0">
              <a:spcBef>
                <a:spcPts val="300"/>
              </a:spcBef>
              <a:buNone/>
            </a:pPr>
            <a:r>
              <a:rPr lang="en-US" altLang="ja-JP" sz="1600" dirty="0"/>
              <a:t>Energy management &amp; Efficiency solutions 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Power &amp; </a:t>
            </a:r>
            <a:r>
              <a:rPr lang="en-US" altLang="ja-JP" dirty="0" smtClean="0"/>
              <a:t>process consultancy </a:t>
            </a:r>
            <a:endParaRPr lang="en-US" altLang="ja-JP" dirty="0"/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PF improvement 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Harmonic analysis &amp; filters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Maximum demand control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Power availability &amp; tariff driven operations 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Demand forecasting, planning &amp; scheduling 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VVVF drives </a:t>
            </a:r>
          </a:p>
          <a:p>
            <a:pPr marL="582613" lvl="2">
              <a:spcBef>
                <a:spcPts val="300"/>
              </a:spcBef>
            </a:pPr>
            <a:r>
              <a:rPr lang="en-US" altLang="ja-JP" dirty="0"/>
              <a:t>High efficiency machines &amp; </a:t>
            </a:r>
            <a:r>
              <a:rPr lang="en-US" altLang="ja-JP" dirty="0" smtClean="0"/>
              <a:t>motors</a:t>
            </a:r>
            <a:endParaRPr lang="en-US" altLang="ja-JP" dirty="0"/>
          </a:p>
        </p:txBody>
      </p:sp>
      <p:sp>
        <p:nvSpPr>
          <p:cNvPr id="12" name="Content Placeholder 11"/>
          <p:cNvSpPr>
            <a:spLocks noGrp="1"/>
          </p:cNvSpPr>
          <p:nvPr>
            <p:ph sz="half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10" descr="00781828_3_72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71612" y="1600200"/>
            <a:ext cx="3024188" cy="201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el 19"/>
          <p:cNvSpPr txBox="1">
            <a:spLocks/>
          </p:cNvSpPr>
          <p:nvPr/>
        </p:nvSpPr>
        <p:spPr>
          <a:xfrm>
            <a:off x="0" y="-18899"/>
            <a:ext cx="9144000" cy="1161899"/>
          </a:xfrm>
          <a:prstGeom prst="rect">
            <a:avLst/>
          </a:prstGeo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>
                <a:solidFill>
                  <a:srgbClr val="002897"/>
                </a:solidFill>
              </a:rPr>
              <a:t>ABB’s full product &amp; service </a:t>
            </a:r>
            <a:r>
              <a:rPr lang="en-US" smtClean="0">
                <a:solidFill>
                  <a:srgbClr val="002897"/>
                </a:solidFill>
              </a:rPr>
              <a:t>portfolio</a:t>
            </a:r>
            <a:endParaRPr lang="en-US">
              <a:solidFill>
                <a:srgbClr val="0028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57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215900" y="6200775"/>
            <a:ext cx="2808288" cy="657225"/>
          </a:xfrm>
          <a:prstGeom prst="rect">
            <a:avLst/>
          </a:prstGeom>
        </p:spPr>
        <p:txBody>
          <a:bodyPr/>
          <a:lstStyle/>
          <a:p>
            <a:endParaRPr lang="en-US"/>
          </a:p>
          <a:p>
            <a:r>
              <a:rPr lang="en-US"/>
              <a:t>© ABB Group </a:t>
            </a:r>
          </a:p>
          <a:p>
            <a:fld id="{2AC58C56-DBEC-4AFF-B8F7-6C5985039869}" type="datetime4">
              <a:rPr lang="en-US"/>
              <a:pPr/>
              <a:t>February 10, 2014</a:t>
            </a:fld>
            <a:r>
              <a:rPr lang="en-US"/>
              <a:t> | Slide </a:t>
            </a:r>
            <a:fld id="{2708B985-EBCF-4652-856F-0599BD9CFE25}" type="slidenum">
              <a:rPr lang="en-US"/>
              <a:pPr/>
              <a:t>6</a:t>
            </a:fld>
            <a:endParaRPr lang="en-US"/>
          </a:p>
        </p:txBody>
      </p:sp>
      <p:sp>
        <p:nvSpPr>
          <p:cNvPr id="2100226" name="Rectangle 2"/>
          <p:cNvSpPr>
            <a:spLocks noChangeArrowheads="1"/>
          </p:cNvSpPr>
          <p:nvPr/>
        </p:nvSpPr>
        <p:spPr bwMode="auto">
          <a:xfrm>
            <a:off x="215900" y="225425"/>
            <a:ext cx="8712200" cy="5972175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002897"/>
              </a:buClr>
              <a:buSzPct val="70000"/>
              <a:buFont typeface="Wingdings" pitchFamily="48" charset="2"/>
              <a:buChar char="§"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00227" name="Rectangle 3"/>
          <p:cNvSpPr>
            <a:spLocks noChangeArrowheads="1"/>
          </p:cNvSpPr>
          <p:nvPr/>
        </p:nvSpPr>
        <p:spPr bwMode="auto">
          <a:xfrm>
            <a:off x="215900" y="225425"/>
            <a:ext cx="8712200" cy="1786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44000" tIns="144000" rIns="144000" bIns="144000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5400" dirty="0" smtClean="0">
                <a:solidFill>
                  <a:srgbClr val="0096EA"/>
                </a:solidFill>
              </a:rPr>
              <a:t>Energy Efficiency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5400" dirty="0" smtClean="0">
                <a:solidFill>
                  <a:srgbClr val="5BD8FF"/>
                </a:solidFill>
              </a:rPr>
              <a:t>What , How &amp; Why</a:t>
            </a:r>
            <a:endParaRPr lang="en-US" sz="5400" dirty="0">
              <a:solidFill>
                <a:srgbClr val="5BD8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573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Challenges &amp; concerns</a:t>
            </a:r>
            <a:endParaRPr lang="en-US" dirty="0"/>
          </a:p>
        </p:txBody>
      </p:sp>
      <p:sp>
        <p:nvSpPr>
          <p:cNvPr id="6" name="shpContentSlideFooter"/>
          <p:cNvSpPr txBox="1">
            <a:spLocks noChangeArrowheads="1"/>
          </p:cNvSpPr>
          <p:nvPr/>
        </p:nvSpPr>
        <p:spPr bwMode="auto">
          <a:xfrm>
            <a:off x="215900" y="6200775"/>
            <a:ext cx="2808288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198000" numCol="1" anchor="b" anchorCtr="0" compatLnSpc="1">
            <a:prstTxWarp prst="textNoShape">
              <a:avLst/>
            </a:prstTxWarp>
          </a:bodyPr>
          <a:lstStyle>
            <a:defPPr>
              <a:defRPr lang="de-CH"/>
            </a:defPPr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600" kern="1200">
                <a:solidFill>
                  <a:srgbClr val="666666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endParaRPr lang="en-US" sz="800" smtClean="0"/>
          </a:p>
          <a:p>
            <a:r>
              <a:rPr lang="en-US" sz="800" smtClean="0"/>
              <a:t>© ABB Group </a:t>
            </a:r>
          </a:p>
          <a:p>
            <a:fld id="{7ACDE573-0587-4270-96D3-DC62D1F6C842}" type="datetime4">
              <a:rPr lang="en-US" sz="800" smtClean="0"/>
              <a:pPr/>
              <a:t>February 10, 2014</a:t>
            </a:fld>
            <a:r>
              <a:rPr lang="en-US" sz="800" smtClean="0"/>
              <a:t> | Slide </a:t>
            </a:r>
            <a:fld id="{618F5FCE-A3D5-4E76-9E7B-7A38F6BFB3A1}" type="slidenum">
              <a:rPr lang="en-US" sz="800" smtClean="0"/>
              <a:pPr/>
              <a:t>7</a:t>
            </a:fld>
            <a:endParaRPr lang="en-US" sz="800" dirty="0" smtClean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073400" y="1176621"/>
            <a:ext cx="6414448" cy="4740298"/>
          </a:xfrm>
        </p:spPr>
        <p:txBody>
          <a:bodyPr>
            <a:noAutofit/>
          </a:bodyPr>
          <a:lstStyle/>
          <a:p>
            <a:pPr marL="765175" lvl="3" indent="0">
              <a:lnSpc>
                <a:spcPct val="150000"/>
              </a:lnSpc>
              <a:spcBef>
                <a:spcPts val="300"/>
              </a:spcBef>
              <a:buNone/>
            </a:pPr>
            <a:endParaRPr lang="en-US" altLang="ja-JP" sz="1600" dirty="0"/>
          </a:p>
          <a:p>
            <a:pPr marL="47625" lvl="1" indent="0">
              <a:lnSpc>
                <a:spcPct val="150000"/>
              </a:lnSpc>
              <a:spcBef>
                <a:spcPts val="300"/>
              </a:spcBef>
              <a:buNone/>
            </a:pPr>
            <a:r>
              <a:rPr lang="en-US" altLang="ja-JP" sz="1600" b="1" dirty="0" smtClean="0"/>
              <a:t>Current situation and challenges –ABB perception </a:t>
            </a:r>
            <a:endParaRPr lang="en-US" altLang="ja-JP" sz="1600" b="1" dirty="0"/>
          </a:p>
          <a:p>
            <a:pPr marL="693738" lvl="2" indent="-285750">
              <a:lnSpc>
                <a:spcPct val="150000"/>
              </a:lnSpc>
              <a:spcBef>
                <a:spcPts val="300"/>
              </a:spcBef>
            </a:pPr>
            <a:r>
              <a:rPr lang="en-US" altLang="ja-JP" sz="1600" dirty="0" smtClean="0"/>
              <a:t>Capacity expansion vis-à-vis limited / no free land </a:t>
            </a:r>
            <a:endParaRPr lang="en-US" altLang="ja-JP" sz="1600" dirty="0"/>
          </a:p>
          <a:p>
            <a:pPr marL="693738" lvl="2" indent="-285750">
              <a:lnSpc>
                <a:spcPct val="150000"/>
              </a:lnSpc>
              <a:spcBef>
                <a:spcPts val="300"/>
              </a:spcBef>
            </a:pPr>
            <a:r>
              <a:rPr lang="en-US" altLang="ja-JP" sz="1600" dirty="0" smtClean="0"/>
              <a:t>Continuously growing energy bill</a:t>
            </a:r>
          </a:p>
          <a:p>
            <a:pPr marL="1050925" lvl="3" indent="-285750">
              <a:lnSpc>
                <a:spcPct val="150000"/>
              </a:lnSpc>
              <a:spcBef>
                <a:spcPts val="300"/>
              </a:spcBef>
            </a:pPr>
            <a:r>
              <a:rPr lang="en-US" altLang="ja-JP" sz="1600" dirty="0" smtClean="0"/>
              <a:t>Utility &amp; DG</a:t>
            </a:r>
          </a:p>
          <a:p>
            <a:pPr marL="693738" lvl="2" indent="-285750">
              <a:lnSpc>
                <a:spcPct val="150000"/>
              </a:lnSpc>
              <a:spcBef>
                <a:spcPts val="300"/>
              </a:spcBef>
            </a:pPr>
            <a:r>
              <a:rPr lang="en-US" altLang="ja-JP" sz="1600" dirty="0" smtClean="0"/>
              <a:t>Mounting operational costs </a:t>
            </a:r>
          </a:p>
          <a:p>
            <a:pPr marL="693738" lvl="2" indent="-285750">
              <a:lnSpc>
                <a:spcPct val="150000"/>
              </a:lnSpc>
              <a:spcBef>
                <a:spcPts val="300"/>
              </a:spcBef>
            </a:pPr>
            <a:r>
              <a:rPr lang="en-US" altLang="ja-JP" sz="1600" dirty="0" smtClean="0"/>
              <a:t>Untenable distribution &amp; technical losses</a:t>
            </a:r>
          </a:p>
          <a:p>
            <a:pPr marL="693738" lvl="2" indent="-285750">
              <a:lnSpc>
                <a:spcPct val="150000"/>
              </a:lnSpc>
              <a:spcBef>
                <a:spcPts val="300"/>
              </a:spcBef>
            </a:pPr>
            <a:r>
              <a:rPr lang="en-US" altLang="ja-JP" sz="1600" dirty="0" smtClean="0"/>
              <a:t>Ageing assets and workforce</a:t>
            </a:r>
          </a:p>
          <a:p>
            <a:pPr marL="693738" lvl="2" indent="-285750">
              <a:lnSpc>
                <a:spcPct val="150000"/>
              </a:lnSpc>
              <a:spcBef>
                <a:spcPts val="300"/>
              </a:spcBef>
            </a:pPr>
            <a:r>
              <a:rPr lang="en-US" altLang="ja-JP" sz="1600" dirty="0" smtClean="0"/>
              <a:t>Liquidity crunch and limited O&amp;M budgets</a:t>
            </a:r>
          </a:p>
          <a:p>
            <a:pPr marL="693738" lvl="2" indent="-285750">
              <a:lnSpc>
                <a:spcPct val="150000"/>
              </a:lnSpc>
              <a:spcBef>
                <a:spcPts val="300"/>
              </a:spcBef>
            </a:pPr>
            <a:r>
              <a:rPr lang="en-US" altLang="ja-JP" sz="1600" dirty="0" smtClean="0"/>
              <a:t>Limited flexibility to set &amp; charge right price levels  </a:t>
            </a:r>
          </a:p>
          <a:p>
            <a:pPr marL="693738" lvl="2" indent="-285750">
              <a:lnSpc>
                <a:spcPct val="150000"/>
              </a:lnSpc>
              <a:spcBef>
                <a:spcPts val="300"/>
              </a:spcBef>
            </a:pPr>
            <a:r>
              <a:rPr lang="en-US" altLang="ja-JP" sz="1600" dirty="0" smtClean="0"/>
              <a:t>Public expectations &amp; demands</a:t>
            </a:r>
          </a:p>
          <a:p>
            <a:pPr marL="693738" lvl="2" indent="-285750">
              <a:lnSpc>
                <a:spcPct val="150000"/>
              </a:lnSpc>
              <a:spcBef>
                <a:spcPts val="300"/>
              </a:spcBef>
            </a:pPr>
            <a:endParaRPr lang="en-US" altLang="ja-JP" sz="1600" dirty="0"/>
          </a:p>
        </p:txBody>
      </p:sp>
      <p:pic>
        <p:nvPicPr>
          <p:cNvPr id="2050" name="Picture 2" descr="http://tvgconsulting.com/wp-content/uploads/2012/03/Business_Challeng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1757272"/>
            <a:ext cx="2857500" cy="4124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482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Pentagon 101"/>
          <p:cNvSpPr/>
          <p:nvPr/>
        </p:nvSpPr>
        <p:spPr>
          <a:xfrm>
            <a:off x="251520" y="1736433"/>
            <a:ext cx="8612480" cy="717424"/>
          </a:xfrm>
          <a:prstGeom prst="homePlat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228600" indent="-228600"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1. Service Agreements</a:t>
            </a:r>
            <a:endParaRPr lang="it-IT" sz="800" dirty="0" smtClean="0">
              <a:solidFill>
                <a:srgbClr val="FFFFFF"/>
              </a:solidFill>
            </a:endParaRPr>
          </a:p>
          <a:p>
            <a:pPr marL="228600" indent="-228600" algn="ctr">
              <a:buFontTx/>
              <a:buAutoNum type="arabicPeriod"/>
              <a:defRPr/>
            </a:pPr>
            <a:endParaRPr lang="it-IT" sz="800" dirty="0" smtClean="0">
              <a:solidFill>
                <a:srgbClr val="FFFFFF"/>
              </a:solidFill>
            </a:endParaRPr>
          </a:p>
          <a:p>
            <a:pPr marL="228600" indent="-228600" algn="ctr">
              <a:buFontTx/>
              <a:buAutoNum type="arabicPeriod"/>
              <a:defRPr/>
            </a:pPr>
            <a:endParaRPr lang="it-IT" sz="800" dirty="0" smtClean="0">
              <a:solidFill>
                <a:srgbClr val="FFFFFF"/>
              </a:solidFill>
            </a:endParaRPr>
          </a:p>
          <a:p>
            <a:pPr marL="228600" indent="-228600" algn="ctr">
              <a:buFontTx/>
              <a:buAutoNum type="arabicPeriod"/>
              <a:defRPr/>
            </a:pPr>
            <a:endParaRPr lang="it-IT" sz="800" dirty="0" smtClean="0">
              <a:solidFill>
                <a:srgbClr val="FFFFFF"/>
              </a:solidFill>
            </a:endParaRPr>
          </a:p>
          <a:p>
            <a:pPr marL="228600" indent="-228600" algn="ctr">
              <a:buFontTx/>
              <a:buAutoNum type="arabicPeriod"/>
              <a:defRPr/>
            </a:pP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270540" y="1977427"/>
            <a:ext cx="8096078" cy="502523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>
        <p:nvSpPr>
          <p:cNvPr id="21505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ABB Services</a:t>
            </a:r>
            <a:br>
              <a:rPr lang="en-US" dirty="0" smtClean="0"/>
            </a:br>
            <a:r>
              <a:rPr lang="en-US" dirty="0" smtClean="0">
                <a:solidFill>
                  <a:srgbClr val="395CEF"/>
                </a:solidFill>
                <a:latin typeface="Arial" pitchFamily="34" charset="0"/>
                <a:cs typeface="Arial" pitchFamily="34" charset="0"/>
              </a:rPr>
              <a:t>Structured standard elements of service scope</a:t>
            </a:r>
          </a:p>
        </p:txBody>
      </p:sp>
      <p:sp>
        <p:nvSpPr>
          <p:cNvPr id="19" name="Pentagon 18"/>
          <p:cNvSpPr/>
          <p:nvPr/>
        </p:nvSpPr>
        <p:spPr>
          <a:xfrm>
            <a:off x="251520" y="1987789"/>
            <a:ext cx="996841" cy="468313"/>
          </a:xfrm>
          <a:prstGeom prst="homePlat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2. Installation </a:t>
            </a:r>
            <a:r>
              <a:rPr lang="en-US" sz="800" dirty="0">
                <a:solidFill>
                  <a:srgbClr val="FFFFFF"/>
                </a:solidFill>
              </a:rPr>
              <a:t>&amp;</a:t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dirty="0">
                <a:solidFill>
                  <a:srgbClr val="FFFFFF"/>
                </a:solidFill>
              </a:rPr>
              <a:t>commissioning</a:t>
            </a:r>
          </a:p>
        </p:txBody>
      </p:sp>
      <p:sp>
        <p:nvSpPr>
          <p:cNvPr id="20" name="Chevron 19"/>
          <p:cNvSpPr/>
          <p:nvPr/>
        </p:nvSpPr>
        <p:spPr>
          <a:xfrm>
            <a:off x="1033528" y="1987789"/>
            <a:ext cx="992895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3. Training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1" name="Chevron 20"/>
          <p:cNvSpPr/>
          <p:nvPr/>
        </p:nvSpPr>
        <p:spPr>
          <a:xfrm>
            <a:off x="1811326" y="1987789"/>
            <a:ext cx="1094327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4. Spares</a:t>
            </a:r>
          </a:p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 &amp;</a:t>
            </a:r>
            <a:r>
              <a:rPr lang="en-US" sz="800" dirty="0">
                <a:solidFill>
                  <a:srgbClr val="FFFFFF"/>
                </a:solidFill>
              </a:rPr>
              <a:t/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dirty="0">
                <a:solidFill>
                  <a:srgbClr val="FFFFFF"/>
                </a:solidFill>
              </a:rPr>
              <a:t>Consumables</a:t>
            </a:r>
          </a:p>
        </p:txBody>
      </p:sp>
      <p:sp>
        <p:nvSpPr>
          <p:cNvPr id="23" name="Chevron 22"/>
          <p:cNvSpPr/>
          <p:nvPr/>
        </p:nvSpPr>
        <p:spPr>
          <a:xfrm>
            <a:off x="4297807" y="1987789"/>
            <a:ext cx="1134379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7. Engineering</a:t>
            </a:r>
          </a:p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&amp; Consulting 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4" name="Chevron 23"/>
          <p:cNvSpPr/>
          <p:nvPr/>
        </p:nvSpPr>
        <p:spPr>
          <a:xfrm>
            <a:off x="6045328" y="1987545"/>
            <a:ext cx="1075343" cy="47683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9. Extension,</a:t>
            </a:r>
            <a:r>
              <a:rPr lang="en-US" sz="800" dirty="0">
                <a:solidFill>
                  <a:srgbClr val="FFFFFF"/>
                </a:solidFill>
              </a:rPr>
              <a:t/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dirty="0">
                <a:solidFill>
                  <a:srgbClr val="FFFFFF"/>
                </a:solidFill>
              </a:rPr>
              <a:t>Upgrades</a:t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dirty="0">
                <a:solidFill>
                  <a:srgbClr val="FFFFFF"/>
                </a:solidFill>
              </a:rPr>
              <a:t>&amp; Retrofits</a:t>
            </a:r>
          </a:p>
        </p:txBody>
      </p:sp>
      <p:sp>
        <p:nvSpPr>
          <p:cNvPr id="25" name="Chevron 24"/>
          <p:cNvSpPr/>
          <p:nvPr/>
        </p:nvSpPr>
        <p:spPr>
          <a:xfrm>
            <a:off x="6909542" y="1987789"/>
            <a:ext cx="981317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10. End-of </a:t>
            </a:r>
            <a:r>
              <a:rPr lang="en-US" sz="800" dirty="0">
                <a:solidFill>
                  <a:srgbClr val="FFFFFF"/>
                </a:solidFill>
              </a:rPr>
              <a:t>life</a:t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dirty="0">
                <a:solidFill>
                  <a:srgbClr val="FFFFFF"/>
                </a:solidFill>
              </a:rPr>
              <a:t>Services</a:t>
            </a:r>
          </a:p>
        </p:txBody>
      </p:sp>
      <p:sp>
        <p:nvSpPr>
          <p:cNvPr id="26" name="Chevron 25"/>
          <p:cNvSpPr/>
          <p:nvPr/>
        </p:nvSpPr>
        <p:spPr>
          <a:xfrm>
            <a:off x="7670789" y="1987789"/>
            <a:ext cx="1061070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790" dirty="0" smtClean="0">
                <a:solidFill>
                  <a:srgbClr val="FFFFFF"/>
                </a:solidFill>
              </a:rPr>
              <a:t>11. Replacement</a:t>
            </a:r>
            <a:endParaRPr lang="en-US" sz="79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395212" y="4087184"/>
            <a:ext cx="792747" cy="274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Benchmarking</a:t>
            </a:r>
          </a:p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and audits</a:t>
            </a:r>
          </a:p>
        </p:txBody>
      </p:sp>
      <p:sp>
        <p:nvSpPr>
          <p:cNvPr id="20496" name="Rectangle 27"/>
          <p:cNvSpPr>
            <a:spLocks noChangeArrowheads="1"/>
          </p:cNvSpPr>
          <p:nvPr/>
        </p:nvSpPr>
        <p:spPr bwMode="auto">
          <a:xfrm>
            <a:off x="1050270" y="2476738"/>
            <a:ext cx="774501" cy="3079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On-site </a:t>
            </a:r>
            <a:endParaRPr lang="en-US" sz="800" dirty="0" smtClean="0"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Training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0497" name="Rectangle 28"/>
          <p:cNvSpPr>
            <a:spLocks noChangeArrowheads="1"/>
          </p:cNvSpPr>
          <p:nvPr/>
        </p:nvSpPr>
        <p:spPr bwMode="auto">
          <a:xfrm>
            <a:off x="1051754" y="2810065"/>
            <a:ext cx="773017" cy="2619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Classroom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Training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1858735" y="3584813"/>
            <a:ext cx="802561" cy="2635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Consumables</a:t>
            </a:r>
          </a:p>
        </p:txBody>
      </p:sp>
      <p:sp>
        <p:nvSpPr>
          <p:cNvPr id="44" name="Rectangle 43"/>
          <p:cNvSpPr/>
          <p:nvPr/>
        </p:nvSpPr>
        <p:spPr bwMode="auto">
          <a:xfrm>
            <a:off x="1858737" y="2748202"/>
            <a:ext cx="812608" cy="2415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Replacement Parts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1858736" y="3283670"/>
            <a:ext cx="802559" cy="2762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arts Kits</a:t>
            </a:r>
          </a:p>
        </p:txBody>
      </p:sp>
      <p:sp>
        <p:nvSpPr>
          <p:cNvPr id="20507" name="Rectangle 47"/>
          <p:cNvSpPr>
            <a:spLocks noChangeArrowheads="1"/>
          </p:cNvSpPr>
          <p:nvPr/>
        </p:nvSpPr>
        <p:spPr bwMode="auto">
          <a:xfrm>
            <a:off x="4392037" y="3822071"/>
            <a:ext cx="795922" cy="2228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Consulting</a:t>
            </a:r>
          </a:p>
        </p:txBody>
      </p:sp>
      <p:sp>
        <p:nvSpPr>
          <p:cNvPr id="20508" name="Rectangle 48"/>
          <p:cNvSpPr>
            <a:spLocks noChangeArrowheads="1"/>
          </p:cNvSpPr>
          <p:nvPr/>
        </p:nvSpPr>
        <p:spPr bwMode="auto">
          <a:xfrm>
            <a:off x="4393624" y="2490387"/>
            <a:ext cx="794335" cy="239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Engineering</a:t>
            </a:r>
          </a:p>
        </p:txBody>
      </p:sp>
      <p:sp>
        <p:nvSpPr>
          <p:cNvPr id="20510" name="Rectangle 52"/>
          <p:cNvSpPr>
            <a:spLocks noChangeArrowheads="1"/>
          </p:cNvSpPr>
          <p:nvPr/>
        </p:nvSpPr>
        <p:spPr bwMode="auto">
          <a:xfrm>
            <a:off x="6069083" y="2489439"/>
            <a:ext cx="799732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Upgrades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6075433" y="2735500"/>
            <a:ext cx="787444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Software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6075433" y="2981560"/>
            <a:ext cx="787444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Hardware</a:t>
            </a:r>
          </a:p>
        </p:txBody>
      </p:sp>
      <p:sp>
        <p:nvSpPr>
          <p:cNvPr id="20513" name="Rectangle 55"/>
          <p:cNvSpPr>
            <a:spLocks noChangeArrowheads="1"/>
          </p:cNvSpPr>
          <p:nvPr/>
        </p:nvSpPr>
        <p:spPr bwMode="auto">
          <a:xfrm>
            <a:off x="6075433" y="3226033"/>
            <a:ext cx="787444" cy="2301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Extensions</a:t>
            </a:r>
          </a:p>
        </p:txBody>
      </p:sp>
      <p:sp>
        <p:nvSpPr>
          <p:cNvPr id="20514" name="Rectangle 56"/>
          <p:cNvSpPr>
            <a:spLocks noChangeArrowheads="1"/>
          </p:cNvSpPr>
          <p:nvPr/>
        </p:nvSpPr>
        <p:spPr bwMode="auto">
          <a:xfrm>
            <a:off x="6067481" y="3472054"/>
            <a:ext cx="795395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Retrofi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0515" name="Rectangle 58"/>
          <p:cNvSpPr>
            <a:spLocks noChangeArrowheads="1"/>
          </p:cNvSpPr>
          <p:nvPr/>
        </p:nvSpPr>
        <p:spPr bwMode="auto">
          <a:xfrm>
            <a:off x="6909883" y="2476739"/>
            <a:ext cx="79866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790" dirty="0" smtClean="0">
                <a:solidFill>
                  <a:srgbClr val="000000"/>
                </a:solidFill>
              </a:rPr>
              <a:t>Decommissioning</a:t>
            </a:r>
            <a:endParaRPr lang="en-US" sz="790" dirty="0">
              <a:solidFill>
                <a:srgbClr val="000000"/>
              </a:solidFill>
            </a:endParaRPr>
          </a:p>
        </p:txBody>
      </p:sp>
      <p:sp>
        <p:nvSpPr>
          <p:cNvPr id="20516" name="Rectangle 59"/>
          <p:cNvSpPr>
            <a:spLocks noChangeArrowheads="1"/>
          </p:cNvSpPr>
          <p:nvPr/>
        </p:nvSpPr>
        <p:spPr bwMode="auto">
          <a:xfrm>
            <a:off x="6909883" y="2723701"/>
            <a:ext cx="79866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>
                <a:solidFill>
                  <a:srgbClr val="000000"/>
                </a:solidFill>
              </a:rPr>
              <a:t>Resale</a:t>
            </a:r>
          </a:p>
        </p:txBody>
      </p:sp>
      <p:sp>
        <p:nvSpPr>
          <p:cNvPr id="20517" name="Rectangle 60"/>
          <p:cNvSpPr>
            <a:spLocks noChangeArrowheads="1"/>
          </p:cNvSpPr>
          <p:nvPr/>
        </p:nvSpPr>
        <p:spPr bwMode="auto">
          <a:xfrm>
            <a:off x="6909881" y="2971560"/>
            <a:ext cx="792955" cy="2635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isposal and recycling</a:t>
            </a:r>
          </a:p>
        </p:txBody>
      </p:sp>
      <p:sp>
        <p:nvSpPr>
          <p:cNvPr id="20518" name="Rectangle 62"/>
          <p:cNvSpPr>
            <a:spLocks noChangeArrowheads="1"/>
          </p:cNvSpPr>
          <p:nvPr/>
        </p:nvSpPr>
        <p:spPr bwMode="auto">
          <a:xfrm>
            <a:off x="255349" y="2476738"/>
            <a:ext cx="757237" cy="2508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Installation</a:t>
            </a:r>
          </a:p>
        </p:txBody>
      </p:sp>
      <p:sp>
        <p:nvSpPr>
          <p:cNvPr id="20519" name="Rectangle 63"/>
          <p:cNvSpPr>
            <a:spLocks noChangeArrowheads="1"/>
          </p:cNvSpPr>
          <p:nvPr/>
        </p:nvSpPr>
        <p:spPr bwMode="auto">
          <a:xfrm>
            <a:off x="255348" y="2741850"/>
            <a:ext cx="757237" cy="2905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Commissioning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1858736" y="3013314"/>
            <a:ext cx="807584" cy="2448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re-owned parts</a:t>
            </a:r>
          </a:p>
        </p:txBody>
      </p:sp>
      <p:sp>
        <p:nvSpPr>
          <p:cNvPr id="89" name="Rectangle 88"/>
          <p:cNvSpPr/>
          <p:nvPr/>
        </p:nvSpPr>
        <p:spPr bwMode="auto">
          <a:xfrm>
            <a:off x="4390151" y="2757087"/>
            <a:ext cx="79780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lanning and specification</a:t>
            </a:r>
          </a:p>
        </p:txBody>
      </p:sp>
      <p:sp>
        <p:nvSpPr>
          <p:cNvPr id="90" name="Rectangle 89"/>
          <p:cNvSpPr/>
          <p:nvPr/>
        </p:nvSpPr>
        <p:spPr bwMode="auto">
          <a:xfrm>
            <a:off x="4393624" y="3272795"/>
            <a:ext cx="794335" cy="2415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Customization</a:t>
            </a:r>
          </a:p>
        </p:txBody>
      </p:sp>
      <p:sp>
        <p:nvSpPr>
          <p:cNvPr id="20528" name="Rectangle 90"/>
          <p:cNvSpPr>
            <a:spLocks noChangeArrowheads="1"/>
          </p:cNvSpPr>
          <p:nvPr/>
        </p:nvSpPr>
        <p:spPr bwMode="auto">
          <a:xfrm>
            <a:off x="1051754" y="3092782"/>
            <a:ext cx="776194" cy="1695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>
                <a:solidFill>
                  <a:srgbClr val="000000"/>
                </a:solidFill>
              </a:rPr>
              <a:t>E-Learning</a:t>
            </a:r>
          </a:p>
        </p:txBody>
      </p:sp>
      <p:sp>
        <p:nvSpPr>
          <p:cNvPr id="130" name="Rectangle 129"/>
          <p:cNvSpPr/>
          <p:nvPr/>
        </p:nvSpPr>
        <p:spPr bwMode="auto">
          <a:xfrm>
            <a:off x="5237971" y="5523059"/>
            <a:ext cx="795529" cy="25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ata back-up</a:t>
            </a:r>
          </a:p>
        </p:txBody>
      </p:sp>
      <p:sp>
        <p:nvSpPr>
          <p:cNvPr id="131" name="Rectangle 130"/>
          <p:cNvSpPr/>
          <p:nvPr/>
        </p:nvSpPr>
        <p:spPr bwMode="auto">
          <a:xfrm>
            <a:off x="5243615" y="5792131"/>
            <a:ext cx="789885" cy="3102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ata engineering</a:t>
            </a:r>
          </a:p>
        </p:txBody>
      </p:sp>
      <p:sp>
        <p:nvSpPr>
          <p:cNvPr id="20536" name="Rectangle 131"/>
          <p:cNvSpPr>
            <a:spLocks noChangeArrowheads="1"/>
          </p:cNvSpPr>
          <p:nvPr/>
        </p:nvSpPr>
        <p:spPr bwMode="auto">
          <a:xfrm>
            <a:off x="5234563" y="5279961"/>
            <a:ext cx="79893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ata services</a:t>
            </a:r>
          </a:p>
        </p:txBody>
      </p:sp>
      <p:sp>
        <p:nvSpPr>
          <p:cNvPr id="79" name="Chevron 78"/>
          <p:cNvSpPr/>
          <p:nvPr/>
        </p:nvSpPr>
        <p:spPr>
          <a:xfrm>
            <a:off x="2690022" y="1987789"/>
            <a:ext cx="1073285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r>
              <a:rPr lang="en-US" sz="800" kern="0" dirty="0" smtClean="0">
                <a:solidFill>
                  <a:srgbClr val="FFFFFF"/>
                </a:solidFill>
              </a:rPr>
              <a:t>5. Maintenance</a:t>
            </a:r>
            <a:endParaRPr lang="it-IT" sz="800" kern="0" dirty="0" smtClean="0">
              <a:solidFill>
                <a:srgbClr val="FFFFFF"/>
              </a:solidFill>
            </a:endParaRPr>
          </a:p>
        </p:txBody>
      </p:sp>
      <p:cxnSp>
        <p:nvCxnSpPr>
          <p:cNvPr id="103" name="Straight Connector 102"/>
          <p:cNvCxnSpPr/>
          <p:nvPr/>
        </p:nvCxnSpPr>
        <p:spPr>
          <a:xfrm>
            <a:off x="1028971" y="2437052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/>
          <p:cNvSpPr/>
          <p:nvPr/>
        </p:nvSpPr>
        <p:spPr bwMode="auto">
          <a:xfrm>
            <a:off x="4398102" y="3552195"/>
            <a:ext cx="789857" cy="2399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Configurations</a:t>
            </a:r>
          </a:p>
        </p:txBody>
      </p:sp>
      <p:sp>
        <p:nvSpPr>
          <p:cNvPr id="68" name="Rectangle 84"/>
          <p:cNvSpPr>
            <a:spLocks noChangeArrowheads="1"/>
          </p:cNvSpPr>
          <p:nvPr/>
        </p:nvSpPr>
        <p:spPr bwMode="auto">
          <a:xfrm>
            <a:off x="1866515" y="4165911"/>
            <a:ext cx="791957" cy="3797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Extended warrant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0" name="Rectangle 69"/>
          <p:cNvSpPr/>
          <p:nvPr/>
        </p:nvSpPr>
        <p:spPr bwMode="auto">
          <a:xfrm>
            <a:off x="4407590" y="3013642"/>
            <a:ext cx="780370" cy="2355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System integration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5234401" y="3231461"/>
            <a:ext cx="812036" cy="2723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Op. excellence reliabilit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7" name="Rectangle 76"/>
          <p:cNvSpPr/>
          <p:nvPr/>
        </p:nvSpPr>
        <p:spPr bwMode="auto">
          <a:xfrm>
            <a:off x="5234401" y="2946398"/>
            <a:ext cx="812036" cy="2704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Asset optimization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5234401" y="3513625"/>
            <a:ext cx="812036" cy="1971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Process safet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5234401" y="4014627"/>
            <a:ext cx="812036" cy="26259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System performanc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5234401" y="3726801"/>
            <a:ext cx="812036" cy="2730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Environmental complianc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7" name="Rectangle 86"/>
          <p:cNvSpPr/>
          <p:nvPr/>
        </p:nvSpPr>
        <p:spPr bwMode="auto">
          <a:xfrm>
            <a:off x="5234771" y="4291549"/>
            <a:ext cx="811666" cy="2002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700" dirty="0" smtClean="0">
                <a:solidFill>
                  <a:srgbClr val="000000"/>
                </a:solidFill>
              </a:rPr>
              <a:t>Holistic Efficiency Enhancement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88" name="Rectangle 87"/>
          <p:cNvSpPr/>
          <p:nvPr/>
        </p:nvSpPr>
        <p:spPr bwMode="auto">
          <a:xfrm>
            <a:off x="5234771" y="4755578"/>
            <a:ext cx="811666" cy="183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Cyber Security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1" name="Rectangle 90"/>
          <p:cNvSpPr/>
          <p:nvPr/>
        </p:nvSpPr>
        <p:spPr bwMode="auto">
          <a:xfrm>
            <a:off x="5234771" y="4501577"/>
            <a:ext cx="811666" cy="240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Maintenance Managemen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4395871" y="4402584"/>
            <a:ext cx="799419" cy="2566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Project managemen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4" name="Rectangle 47"/>
          <p:cNvSpPr>
            <a:spLocks noChangeArrowheads="1"/>
          </p:cNvSpPr>
          <p:nvPr/>
        </p:nvSpPr>
        <p:spPr bwMode="auto">
          <a:xfrm>
            <a:off x="5240242" y="4952586"/>
            <a:ext cx="799970" cy="3176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Software as a servic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13" name="Chevron 112"/>
          <p:cNvSpPr/>
          <p:nvPr/>
        </p:nvSpPr>
        <p:spPr>
          <a:xfrm>
            <a:off x="5212365" y="1987120"/>
            <a:ext cx="1055365" cy="477839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8. Advanced Services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17" name="Rectangle 116"/>
          <p:cNvSpPr/>
          <p:nvPr/>
        </p:nvSpPr>
        <p:spPr bwMode="auto">
          <a:xfrm>
            <a:off x="2732836" y="2492896"/>
            <a:ext cx="774457" cy="2784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reventive maintenance</a:t>
            </a:r>
          </a:p>
        </p:txBody>
      </p:sp>
      <p:sp>
        <p:nvSpPr>
          <p:cNvPr id="119" name="Rectangle 118"/>
          <p:cNvSpPr/>
          <p:nvPr/>
        </p:nvSpPr>
        <p:spPr bwMode="auto">
          <a:xfrm>
            <a:off x="2732836" y="2787948"/>
            <a:ext cx="774457" cy="2921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redictive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maintenance</a:t>
            </a:r>
          </a:p>
        </p:txBody>
      </p:sp>
      <p:sp>
        <p:nvSpPr>
          <p:cNvPr id="120" name="Rectangle 121"/>
          <p:cNvSpPr>
            <a:spLocks noChangeArrowheads="1"/>
          </p:cNvSpPr>
          <p:nvPr/>
        </p:nvSpPr>
        <p:spPr bwMode="auto">
          <a:xfrm>
            <a:off x="2732836" y="3101400"/>
            <a:ext cx="774457" cy="2733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On-site condition monitoring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21" name="Rectangle 120"/>
          <p:cNvSpPr/>
          <p:nvPr/>
        </p:nvSpPr>
        <p:spPr bwMode="auto">
          <a:xfrm>
            <a:off x="2732836" y="3671753"/>
            <a:ext cx="774457" cy="2485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Life cycle </a:t>
            </a:r>
            <a:r>
              <a:rPr lang="en-US" sz="800" dirty="0">
                <a:solidFill>
                  <a:srgbClr val="000000"/>
                </a:solidFill>
              </a:rPr>
              <a:t>assessment</a:t>
            </a:r>
          </a:p>
        </p:txBody>
      </p:sp>
      <p:sp>
        <p:nvSpPr>
          <p:cNvPr id="122" name="Rectangle 121"/>
          <p:cNvSpPr/>
          <p:nvPr/>
        </p:nvSpPr>
        <p:spPr bwMode="auto">
          <a:xfrm>
            <a:off x="3558130" y="2741660"/>
            <a:ext cx="767427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Workshop repair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24" name="Rectangle 123"/>
          <p:cNvSpPr/>
          <p:nvPr/>
        </p:nvSpPr>
        <p:spPr bwMode="auto">
          <a:xfrm>
            <a:off x="3557261" y="2997246"/>
            <a:ext cx="761087" cy="4929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Refurbishment/</a:t>
            </a:r>
          </a:p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Reconditioning</a:t>
            </a:r>
          </a:p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services</a:t>
            </a:r>
            <a:endParaRPr lang="en-US" sz="800" strike="sngStrike" dirty="0">
              <a:solidFill>
                <a:srgbClr val="000000"/>
              </a:solidFill>
            </a:endParaRPr>
          </a:p>
        </p:txBody>
      </p:sp>
      <p:sp>
        <p:nvSpPr>
          <p:cNvPr id="125" name="Rectangle 124"/>
          <p:cNvSpPr/>
          <p:nvPr/>
        </p:nvSpPr>
        <p:spPr bwMode="auto">
          <a:xfrm>
            <a:off x="3553798" y="4425967"/>
            <a:ext cx="773223" cy="39505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Remote</a:t>
            </a:r>
          </a:p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Trouble-shooting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26" name="Rectangle 83"/>
          <p:cNvSpPr>
            <a:spLocks noChangeArrowheads="1"/>
          </p:cNvSpPr>
          <p:nvPr/>
        </p:nvSpPr>
        <p:spPr bwMode="auto">
          <a:xfrm>
            <a:off x="3553797" y="2486072"/>
            <a:ext cx="773223" cy="2271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Repair </a:t>
            </a:r>
            <a:r>
              <a:rPr lang="en-US" sz="800" dirty="0">
                <a:solidFill>
                  <a:srgbClr val="000000"/>
                </a:solidFill>
              </a:rPr>
              <a:t>services</a:t>
            </a:r>
          </a:p>
        </p:txBody>
      </p:sp>
      <p:sp>
        <p:nvSpPr>
          <p:cNvPr id="128" name="Rectangle 29"/>
          <p:cNvSpPr>
            <a:spLocks noChangeArrowheads="1"/>
          </p:cNvSpPr>
          <p:nvPr/>
        </p:nvSpPr>
        <p:spPr bwMode="auto">
          <a:xfrm>
            <a:off x="3547283" y="4103023"/>
            <a:ext cx="776269" cy="3018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Technical </a:t>
            </a:r>
            <a:r>
              <a:rPr lang="en-US" sz="800" dirty="0" smtClean="0">
                <a:solidFill>
                  <a:srgbClr val="000000"/>
                </a:solidFill>
              </a:rPr>
              <a:t>support </a:t>
            </a:r>
            <a:endParaRPr lang="en-US" sz="800" dirty="0">
              <a:solidFill>
                <a:srgbClr val="FF000F"/>
              </a:solidFill>
            </a:endParaRPr>
          </a:p>
        </p:txBody>
      </p:sp>
      <p:sp>
        <p:nvSpPr>
          <p:cNvPr id="133" name="Rectangle 132"/>
          <p:cNvSpPr/>
          <p:nvPr/>
        </p:nvSpPr>
        <p:spPr bwMode="auto">
          <a:xfrm>
            <a:off x="2732836" y="3931953"/>
            <a:ext cx="774964" cy="2879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Inspections &amp; diagnostics</a:t>
            </a:r>
          </a:p>
        </p:txBody>
      </p:sp>
      <p:sp>
        <p:nvSpPr>
          <p:cNvPr id="136" name="Rectangle 121"/>
          <p:cNvSpPr>
            <a:spLocks noChangeArrowheads="1"/>
          </p:cNvSpPr>
          <p:nvPr/>
        </p:nvSpPr>
        <p:spPr bwMode="auto">
          <a:xfrm>
            <a:off x="2737198" y="3384436"/>
            <a:ext cx="774457" cy="2733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780" dirty="0" smtClean="0">
                <a:solidFill>
                  <a:srgbClr val="000000"/>
                </a:solidFill>
              </a:rPr>
              <a:t>Remote condition monitoring</a:t>
            </a:r>
            <a:endParaRPr lang="en-US" sz="780" dirty="0">
              <a:solidFill>
                <a:srgbClr val="000000"/>
              </a:solidFill>
            </a:endParaRPr>
          </a:p>
        </p:txBody>
      </p:sp>
      <p:cxnSp>
        <p:nvCxnSpPr>
          <p:cNvPr id="138" name="Straight Connector 137"/>
          <p:cNvCxnSpPr/>
          <p:nvPr/>
        </p:nvCxnSpPr>
        <p:spPr>
          <a:xfrm>
            <a:off x="1835442" y="2441145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/>
          <p:nvPr/>
        </p:nvCxnSpPr>
        <p:spPr>
          <a:xfrm>
            <a:off x="2699089" y="2446736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/>
        </p:nvCxnSpPr>
        <p:spPr>
          <a:xfrm>
            <a:off x="3531381" y="2446736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4355273" y="2448151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5211418" y="2447969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/>
        </p:nvCxnSpPr>
        <p:spPr>
          <a:xfrm>
            <a:off x="6059612" y="2453560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/>
        </p:nvCxnSpPr>
        <p:spPr>
          <a:xfrm>
            <a:off x="6883953" y="2446736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/>
          <p:nvPr/>
        </p:nvCxnSpPr>
        <p:spPr>
          <a:xfrm>
            <a:off x="7715796" y="2448151"/>
            <a:ext cx="0" cy="3650915"/>
          </a:xfrm>
          <a:prstGeom prst="line">
            <a:avLst/>
          </a:prstGeom>
          <a:ln w="9525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hevron 83"/>
          <p:cNvSpPr/>
          <p:nvPr/>
        </p:nvSpPr>
        <p:spPr>
          <a:xfrm>
            <a:off x="3559385" y="1989331"/>
            <a:ext cx="959092" cy="468313"/>
          </a:xfrm>
          <a:prstGeom prst="chevron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6. Repairs</a:t>
            </a:r>
            <a:endParaRPr lang="it-IT" sz="800" dirty="0" smtClean="0">
              <a:solidFill>
                <a:srgbClr val="FFFFFF"/>
              </a:solidFill>
            </a:endParaRPr>
          </a:p>
        </p:txBody>
      </p:sp>
      <p:sp>
        <p:nvSpPr>
          <p:cNvPr id="86" name="Rectangle 85"/>
          <p:cNvSpPr/>
          <p:nvPr/>
        </p:nvSpPr>
        <p:spPr bwMode="auto">
          <a:xfrm>
            <a:off x="1868784" y="3877946"/>
            <a:ext cx="802561" cy="2635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Exchange uni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3" name="Rectangle 92"/>
          <p:cNvSpPr/>
          <p:nvPr/>
        </p:nvSpPr>
        <p:spPr bwMode="auto">
          <a:xfrm>
            <a:off x="7737741" y="2480471"/>
            <a:ext cx="741241" cy="23897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Replacement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7" name="Rectangle 96"/>
          <p:cNvSpPr/>
          <p:nvPr/>
        </p:nvSpPr>
        <p:spPr bwMode="auto">
          <a:xfrm>
            <a:off x="251520" y="3071750"/>
            <a:ext cx="756870" cy="2480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Simulation</a:t>
            </a:r>
          </a:p>
        </p:txBody>
      </p:sp>
      <p:sp>
        <p:nvSpPr>
          <p:cNvPr id="99" name="Rectangle 98"/>
          <p:cNvSpPr/>
          <p:nvPr/>
        </p:nvSpPr>
        <p:spPr bwMode="auto">
          <a:xfrm>
            <a:off x="251520" y="3374121"/>
            <a:ext cx="756870" cy="2800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Programming services</a:t>
            </a:r>
          </a:p>
        </p:txBody>
      </p:sp>
      <p:sp>
        <p:nvSpPr>
          <p:cNvPr id="101" name="Rectangle 4"/>
          <p:cNvSpPr>
            <a:spLocks noChangeArrowheads="1"/>
          </p:cNvSpPr>
          <p:nvPr/>
        </p:nvSpPr>
        <p:spPr bwMode="auto">
          <a:xfrm>
            <a:off x="1858737" y="2483088"/>
            <a:ext cx="812608" cy="2391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Spare parts</a:t>
            </a:r>
          </a:p>
        </p:txBody>
      </p:sp>
      <p:sp>
        <p:nvSpPr>
          <p:cNvPr id="106" name="Rectangle 84"/>
          <p:cNvSpPr>
            <a:spLocks noChangeArrowheads="1"/>
          </p:cNvSpPr>
          <p:nvPr/>
        </p:nvSpPr>
        <p:spPr bwMode="auto">
          <a:xfrm>
            <a:off x="1866515" y="4563048"/>
            <a:ext cx="799805" cy="436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Parts and inventory  management </a:t>
            </a:r>
          </a:p>
        </p:txBody>
      </p:sp>
      <p:sp>
        <p:nvSpPr>
          <p:cNvPr id="107" name="Rectangle 48"/>
          <p:cNvSpPr>
            <a:spLocks noChangeArrowheads="1"/>
          </p:cNvSpPr>
          <p:nvPr/>
        </p:nvSpPr>
        <p:spPr bwMode="auto">
          <a:xfrm>
            <a:off x="5232291" y="2492129"/>
            <a:ext cx="814145" cy="4349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Performance improvement  Services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/>
          <p:nvPr/>
        </p:nvSpPr>
        <p:spPr bwMode="auto">
          <a:xfrm>
            <a:off x="3559689" y="3514168"/>
            <a:ext cx="767427" cy="2714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On-site repair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92" name="Rectangle 91"/>
          <p:cNvSpPr/>
          <p:nvPr/>
        </p:nvSpPr>
        <p:spPr bwMode="auto">
          <a:xfrm>
            <a:off x="3555880" y="3816696"/>
            <a:ext cx="767427" cy="27144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Corrective maintenanc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" name="Rectangular Callout 2"/>
          <p:cNvSpPr/>
          <p:nvPr/>
        </p:nvSpPr>
        <p:spPr>
          <a:xfrm>
            <a:off x="6909883" y="2971560"/>
            <a:ext cx="2074920" cy="3116407"/>
          </a:xfrm>
          <a:prstGeom prst="wedgeRectCallout">
            <a:avLst>
              <a:gd name="adj1" fmla="val -90911"/>
              <a:gd name="adj2" fmla="val -4720"/>
            </a:avLst>
          </a:prstGeom>
          <a:solidFill>
            <a:schemeClr val="tx2">
              <a:lumMod val="40000"/>
              <a:lumOff val="60000"/>
              <a:alpha val="8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en-US" sz="1400" b="1" dirty="0">
                <a:solidFill>
                  <a:srgbClr val="FFFFFF"/>
                </a:solidFill>
              </a:rPr>
              <a:t>Audit Offerings</a:t>
            </a:r>
            <a:r>
              <a:rPr lang="en-US" sz="1400" b="1" dirty="0" smtClean="0">
                <a:solidFill>
                  <a:srgbClr val="FFFFFF"/>
                </a:solidFill>
              </a:rPr>
              <a:t>: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</a:rPr>
              <a:t>Motor / Drive System Assessments &amp; solutions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</a:rPr>
              <a:t>Power system Analysi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</a:rPr>
              <a:t>Power factor &amp; Harmonic stud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</a:rPr>
              <a:t>Energy Audit covering</a:t>
            </a:r>
          </a:p>
          <a:p>
            <a:pPr lvl="1">
              <a:buFont typeface="Arial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</a:rPr>
              <a:t>Electrical</a:t>
            </a:r>
          </a:p>
          <a:p>
            <a:pPr lvl="1">
              <a:buFont typeface="Arial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</a:rPr>
              <a:t>Thermal</a:t>
            </a:r>
          </a:p>
          <a:p>
            <a:pPr lvl="1">
              <a:buFont typeface="Arial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</a:rPr>
              <a:t>Compressors</a:t>
            </a:r>
          </a:p>
          <a:p>
            <a:pPr lvl="1">
              <a:buFont typeface="Arial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</a:rPr>
              <a:t>Pumps &amp; Fa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rgbClr val="FFFFFF"/>
                </a:solidFill>
              </a:rPr>
              <a:t>Captive </a:t>
            </a:r>
            <a:r>
              <a:rPr lang="en-US" sz="1000" dirty="0">
                <a:solidFill>
                  <a:srgbClr val="FFFFFF"/>
                </a:solidFill>
              </a:rPr>
              <a:t>Power Plant </a:t>
            </a:r>
            <a:r>
              <a:rPr lang="en-US" sz="1000" dirty="0" smtClean="0">
                <a:solidFill>
                  <a:srgbClr val="FFFFFF"/>
                </a:solidFill>
              </a:rPr>
              <a:t>Fingerpri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rgbClr val="FFFFFF"/>
                </a:solidFill>
              </a:rPr>
              <a:t>Cement Fingerprint</a:t>
            </a:r>
            <a:endParaRPr lang="en-US" sz="1000" dirty="0">
              <a:solidFill>
                <a:srgbClr val="FFFFF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</a:rPr>
              <a:t>Control system </a:t>
            </a:r>
            <a:r>
              <a:rPr lang="en-US" sz="1000" dirty="0" smtClean="0">
                <a:solidFill>
                  <a:srgbClr val="FFFFFF"/>
                </a:solidFill>
              </a:rPr>
              <a:t>Fingerprint</a:t>
            </a:r>
            <a:endParaRPr lang="en-US" sz="1000" dirty="0">
              <a:solidFill>
                <a:srgbClr val="FFFFF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</a:rPr>
              <a:t>Health check of electrical </a:t>
            </a:r>
            <a:r>
              <a:rPr lang="en-US" sz="1000" dirty="0" smtClean="0">
                <a:solidFill>
                  <a:srgbClr val="FFFFFF"/>
                </a:solidFill>
              </a:rPr>
              <a:t>equi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smtClean="0">
                <a:solidFill>
                  <a:srgbClr val="FFFFFF"/>
                </a:solidFill>
              </a:rPr>
              <a:t>Residual </a:t>
            </a:r>
            <a:r>
              <a:rPr lang="de-DE" sz="1000" dirty="0">
                <a:solidFill>
                  <a:srgbClr val="FFFFFF"/>
                </a:solidFill>
              </a:rPr>
              <a:t>Life assessments of major electrical equipment</a:t>
            </a:r>
          </a:p>
          <a:p>
            <a:pPr algn="just"/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568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mph" presetSubtype="0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6" dur="10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dirty="0" smtClean="0"/>
              <a:t>EE Portfolio from ABB </a:t>
            </a:r>
            <a:endParaRPr lang="de-DE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8024359"/>
              </p:ext>
            </p:extLst>
          </p:nvPr>
        </p:nvGraphicFramePr>
        <p:xfrm>
          <a:off x="215774" y="762000"/>
          <a:ext cx="8611056" cy="60082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570"/>
                <a:gridCol w="2101570"/>
                <a:gridCol w="2203958"/>
                <a:gridCol w="2203958"/>
              </a:tblGrid>
              <a:tr h="5796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ELECTRIC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THERM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/>
                        <a:t>GENERAL</a:t>
                      </a:r>
                    </a:p>
                  </a:txBody>
                  <a:tcPr/>
                </a:tc>
              </a:tr>
              <a:tr h="453738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ower System stud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oiler Fingerpr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ement Fingerprin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mprehensive</a:t>
                      </a:r>
                      <a:r>
                        <a:rPr lang="en-US" sz="1000" b="1" kern="1200" baseline="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nergy Audits (electrical, thermal, compressors, pumps fans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453738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ower Quality stud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aste heat recovery solution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b="1" kern="1200" dirty="0" smtClean="0">
                        <a:solidFill>
                          <a:srgbClr val="003399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aper Fingerprinting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quipment Performance Management</a:t>
                      </a:r>
                    </a:p>
                  </a:txBody>
                  <a:tcPr/>
                </a:tc>
              </a:tr>
              <a:tr h="579642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ssessment of Motors, Transformers and other electrical equi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arbon In ash analyz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ntrol system Fingerprinting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ndition Monitoring</a:t>
                      </a:r>
                    </a:p>
                  </a:txBody>
                  <a:tcPr/>
                </a:tc>
              </a:tr>
              <a:tr h="579642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tudy of utilities (Compressors, pumps, fans etc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Ultra High Power transformers for Electric Arc Furnaces in Iron and ste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Byproduct gas optim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mote monitoring</a:t>
                      </a:r>
                    </a:p>
                  </a:txBody>
                  <a:tcPr/>
                </a:tc>
              </a:tr>
              <a:tr h="579642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remium Efficiency motors (IE1, IE2, IE3, IE3+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xpert Optimiz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ower plant fingerprinting</a:t>
                      </a:r>
                    </a:p>
                  </a:txBody>
                  <a:tcPr/>
                </a:tc>
              </a:tr>
              <a:tr h="579642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V, LV Drives, </a:t>
                      </a:r>
                      <a:r>
                        <a:rPr lang="en-US" sz="1000" b="1" kern="1200" dirty="0" err="1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oftstarters</a:t>
                      </a:r>
                      <a:endParaRPr lang="en-US" sz="1000" b="1" kern="1200" dirty="0" smtClean="0">
                        <a:solidFill>
                          <a:srgbClr val="003399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2 and CO Moni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nergy Management System</a:t>
                      </a:r>
                    </a:p>
                  </a:txBody>
                  <a:tcPr/>
                </a:tc>
              </a:tr>
              <a:tr h="579642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F Correction equipment and Harmonic fil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I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newable energy sources</a:t>
                      </a:r>
                    </a:p>
                  </a:txBody>
                  <a:tcPr/>
                </a:tc>
              </a:tr>
              <a:tr h="579642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Green Transform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obo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DCS Systems</a:t>
                      </a:r>
                    </a:p>
                  </a:txBody>
                  <a:tcPr/>
                </a:tc>
              </a:tr>
              <a:tr h="579642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ermanent Magnet Synchronous motors and Gearless Mill driv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8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lectromagnetic stirrers</a:t>
                      </a:r>
                      <a:endParaRPr lang="en-US" sz="1000" b="1" kern="1200" dirty="0">
                        <a:solidFill>
                          <a:srgbClr val="003399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rgbClr val="003399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olar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846610" y="152400"/>
            <a:ext cx="19802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B050"/>
                </a:solidFill>
                <a:cs typeface="Arial" pitchFamily="34" charset="0"/>
              </a:rPr>
              <a:t>Service Off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3399"/>
                </a:solidFill>
                <a:cs typeface="Arial" pitchFamily="34" charset="0"/>
              </a:rPr>
              <a:t>Product Off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rgbClr val="00B050"/>
              </a:solidFill>
              <a:cs typeface="Arial" pitchFamily="34" charset="0"/>
            </a:endParaRPr>
          </a:p>
          <a:p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456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SpOyjvtUmiaE66BzGr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ok9zei0ujgrW8cSd.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IyLK3f7UWSshkIE9nK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OPevQ1VECUP48rzM3l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Cb7OC81kGtfu8zOCx8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vgYYVcqUuoxENBGHl_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vioUAIXEmZunUHZcVJ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orSt3fEk6ZoWinKRlY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z7TMBbh0WnrMqZxdLd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lMK5r3ckyO.B9otfDN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4a3251c3-dd07-4c52-8446-d6b88a52a2f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5F7W_DU0m4KJr4ryl9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UhtSfsdUmYBycP_5FW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4a3251c3-dd07-4c52-8446-d6b88a52a2f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4a3251c3-dd07-4c52-8446-d6b88a52a2f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7gyrPrYEKH7R3iCQCL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7gyrPrYEKH7R3iCQCL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h2Xbup5kKQblbeRv2U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2xzZrlBUy3g6ilajOe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6iHUHdYEe0gyIyp42P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_qy27h90ub6jHwx6aw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EY86SRJEKt7oOeDbegXg"/>
</p:tagLst>
</file>

<file path=ppt/theme/theme1.xml><?xml version="1.0" encoding="utf-8"?>
<a:theme xmlns:a="http://schemas.openxmlformats.org/drawingml/2006/main" name="Alu seminar ppt template">
  <a:themeElements>
    <a:clrScheme name="ABB Blue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005ADE"/>
      </a:accent1>
      <a:accent2>
        <a:srgbClr val="0096EA"/>
      </a:accent2>
      <a:accent3>
        <a:srgbClr val="5BD8FF"/>
      </a:accent3>
      <a:accent4>
        <a:srgbClr val="999999"/>
      </a:accent4>
      <a:accent5>
        <a:srgbClr val="666666"/>
      </a:accent5>
      <a:accent6>
        <a:srgbClr val="666666"/>
      </a:accent6>
      <a:hlink>
        <a:srgbClr val="5BD8FF"/>
      </a:hlink>
      <a:folHlink>
        <a:srgbClr val="999999"/>
      </a:folHlink>
    </a:clrScheme>
    <a:fontScheme name="ATB_Aluminium_Power_Point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0000"/>
          <a:buFont typeface="Wingdings" pitchFamily="48" charset="2"/>
          <a:buChar char="§"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0000"/>
          <a:buFont typeface="Wingdings" pitchFamily="48" charset="2"/>
          <a:buChar char="§"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TB_Aluminium_Power_Point_Template 1">
        <a:dk1>
          <a:srgbClr val="000000"/>
        </a:dk1>
        <a:lt1>
          <a:srgbClr val="FFFFFF"/>
        </a:lt1>
        <a:dk2>
          <a:srgbClr val="002897"/>
        </a:dk2>
        <a:lt2>
          <a:srgbClr val="666666"/>
        </a:lt2>
        <a:accent1>
          <a:srgbClr val="005ADE"/>
        </a:accent1>
        <a:accent2>
          <a:srgbClr val="0096EA"/>
        </a:accent2>
        <a:accent3>
          <a:srgbClr val="FFFFFF"/>
        </a:accent3>
        <a:accent4>
          <a:srgbClr val="000000"/>
        </a:accent4>
        <a:accent5>
          <a:srgbClr val="AAB5EC"/>
        </a:accent5>
        <a:accent6>
          <a:srgbClr val="0087D4"/>
        </a:accent6>
        <a:hlink>
          <a:srgbClr val="5BD8FF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B_Aluminium_Power_Point_Template 2">
        <a:dk1>
          <a:srgbClr val="000000"/>
        </a:dk1>
        <a:lt1>
          <a:srgbClr val="FFFFFF"/>
        </a:lt1>
        <a:dk2>
          <a:srgbClr val="084C07"/>
        </a:dk2>
        <a:lt2>
          <a:srgbClr val="666666"/>
        </a:lt2>
        <a:accent1>
          <a:srgbClr val="028208"/>
        </a:accent1>
        <a:accent2>
          <a:srgbClr val="3AB200"/>
        </a:accent2>
        <a:accent3>
          <a:srgbClr val="FFFFFF"/>
        </a:accent3>
        <a:accent4>
          <a:srgbClr val="000000"/>
        </a:accent4>
        <a:accent5>
          <a:srgbClr val="AAC1AA"/>
        </a:accent5>
        <a:accent6>
          <a:srgbClr val="34A100"/>
        </a:accent6>
        <a:hlink>
          <a:srgbClr val="98DB38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B_Aluminium_Power_Point_Template 3">
        <a:dk1>
          <a:srgbClr val="000000"/>
        </a:dk1>
        <a:lt1>
          <a:srgbClr val="FFFFFF"/>
        </a:lt1>
        <a:dk2>
          <a:srgbClr val="601F69"/>
        </a:dk2>
        <a:lt2>
          <a:srgbClr val="666666"/>
        </a:lt2>
        <a:accent1>
          <a:srgbClr val="904AB0"/>
        </a:accent1>
        <a:accent2>
          <a:srgbClr val="9868EF"/>
        </a:accent2>
        <a:accent3>
          <a:srgbClr val="FFFFFF"/>
        </a:accent3>
        <a:accent4>
          <a:srgbClr val="000000"/>
        </a:accent4>
        <a:accent5>
          <a:srgbClr val="C6B1D4"/>
        </a:accent5>
        <a:accent6>
          <a:srgbClr val="895ED9"/>
        </a:accent6>
        <a:hlink>
          <a:srgbClr val="B4A0E8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B_Aluminium_Power_Point_Template 4">
        <a:dk1>
          <a:srgbClr val="000000"/>
        </a:dk1>
        <a:lt1>
          <a:srgbClr val="FFFFFF"/>
        </a:lt1>
        <a:dk2>
          <a:srgbClr val="9A2801"/>
        </a:dk2>
        <a:lt2>
          <a:srgbClr val="666666"/>
        </a:lt2>
        <a:accent1>
          <a:srgbClr val="BF4500"/>
        </a:accent1>
        <a:accent2>
          <a:srgbClr val="FF6C00"/>
        </a:accent2>
        <a:accent3>
          <a:srgbClr val="FFFFFF"/>
        </a:accent3>
        <a:accent4>
          <a:srgbClr val="000000"/>
        </a:accent4>
        <a:accent5>
          <a:srgbClr val="DCB0AA"/>
        </a:accent5>
        <a:accent6>
          <a:srgbClr val="E76100"/>
        </a:accent6>
        <a:hlink>
          <a:srgbClr val="FDAC25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BB_OS">
  <a:themeElements>
    <a:clrScheme name="ABB_OS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999999"/>
      </a:accent1>
      <a:accent2>
        <a:srgbClr val="FF000F"/>
      </a:accent2>
      <a:accent3>
        <a:srgbClr val="5BD8FF"/>
      </a:accent3>
      <a:accent4>
        <a:srgbClr val="0096EA"/>
      </a:accent4>
      <a:accent5>
        <a:srgbClr val="002897"/>
      </a:accent5>
      <a:accent6>
        <a:srgbClr val="666666"/>
      </a:accent6>
      <a:hlink>
        <a:srgbClr val="FF000F"/>
      </a:hlink>
      <a:folHlink>
        <a:srgbClr val="DDDDDD"/>
      </a:folHlink>
    </a:clrScheme>
    <a:fontScheme name="ABB_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400"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005ADE"/>
      </a:accent1>
      <a:accent2>
        <a:srgbClr val="0096EA"/>
      </a:accent2>
      <a:accent3>
        <a:srgbClr val="FFFFFF"/>
      </a:accent3>
      <a:accent4>
        <a:srgbClr val="000000"/>
      </a:accent4>
      <a:accent5>
        <a:srgbClr val="AAB5EC"/>
      </a:accent5>
      <a:accent6>
        <a:srgbClr val="0087D4"/>
      </a:accent6>
      <a:hlink>
        <a:srgbClr val="5BD8FF"/>
      </a:hlink>
      <a:folHlink>
        <a:srgbClr val="99999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0000"/>
          <a:buFont typeface="Wingdings" pitchFamily="2" charset="2"/>
          <a:buChar char="§"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0000"/>
          <a:buFont typeface="Wingdings" pitchFamily="2" charset="2"/>
          <a:buChar char="§"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2897"/>
        </a:dk2>
        <a:lt2>
          <a:srgbClr val="666666"/>
        </a:lt2>
        <a:accent1>
          <a:srgbClr val="005ADE"/>
        </a:accent1>
        <a:accent2>
          <a:srgbClr val="0096EA"/>
        </a:accent2>
        <a:accent3>
          <a:srgbClr val="FFFFFF"/>
        </a:accent3>
        <a:accent4>
          <a:srgbClr val="000000"/>
        </a:accent4>
        <a:accent5>
          <a:srgbClr val="AAB5EC"/>
        </a:accent5>
        <a:accent6>
          <a:srgbClr val="0087D4"/>
        </a:accent6>
        <a:hlink>
          <a:srgbClr val="5BD8FF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84C07"/>
        </a:dk2>
        <a:lt2>
          <a:srgbClr val="666666"/>
        </a:lt2>
        <a:accent1>
          <a:srgbClr val="028208"/>
        </a:accent1>
        <a:accent2>
          <a:srgbClr val="3AB200"/>
        </a:accent2>
        <a:accent3>
          <a:srgbClr val="FFFFFF"/>
        </a:accent3>
        <a:accent4>
          <a:srgbClr val="000000"/>
        </a:accent4>
        <a:accent5>
          <a:srgbClr val="AAC1AA"/>
        </a:accent5>
        <a:accent6>
          <a:srgbClr val="34A100"/>
        </a:accent6>
        <a:hlink>
          <a:srgbClr val="98DB38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601F69"/>
        </a:dk2>
        <a:lt2>
          <a:srgbClr val="666666"/>
        </a:lt2>
        <a:accent1>
          <a:srgbClr val="904AB0"/>
        </a:accent1>
        <a:accent2>
          <a:srgbClr val="9868EF"/>
        </a:accent2>
        <a:accent3>
          <a:srgbClr val="FFFFFF"/>
        </a:accent3>
        <a:accent4>
          <a:srgbClr val="000000"/>
        </a:accent4>
        <a:accent5>
          <a:srgbClr val="C6B1D4"/>
        </a:accent5>
        <a:accent6>
          <a:srgbClr val="895ED9"/>
        </a:accent6>
        <a:hlink>
          <a:srgbClr val="B4A0E8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9A2801"/>
        </a:dk2>
        <a:lt2>
          <a:srgbClr val="666666"/>
        </a:lt2>
        <a:accent1>
          <a:srgbClr val="BF4500"/>
        </a:accent1>
        <a:accent2>
          <a:srgbClr val="FF6C00"/>
        </a:accent2>
        <a:accent3>
          <a:srgbClr val="FFFFFF"/>
        </a:accent3>
        <a:accent4>
          <a:srgbClr val="000000"/>
        </a:accent4>
        <a:accent5>
          <a:srgbClr val="DCB0AA"/>
        </a:accent5>
        <a:accent6>
          <a:srgbClr val="E76100"/>
        </a:accent6>
        <a:hlink>
          <a:srgbClr val="FDAC25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lank">
  <a:themeElements>
    <a:clrScheme name="ABB Blau 2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005ADE"/>
      </a:accent1>
      <a:accent2>
        <a:srgbClr val="0096EA"/>
      </a:accent2>
      <a:accent3>
        <a:srgbClr val="5BD8FF"/>
      </a:accent3>
      <a:accent4>
        <a:srgbClr val="999999"/>
      </a:accent4>
      <a:accent5>
        <a:srgbClr val="666666"/>
      </a:accent5>
      <a:accent6>
        <a:srgbClr val="666666"/>
      </a:accent6>
      <a:hlink>
        <a:srgbClr val="5BD8FF"/>
      </a:hlink>
      <a:folHlink>
        <a:srgbClr val="999999"/>
      </a:folHlink>
    </a:clrScheme>
    <a:fontScheme name="A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tlCol="0" anchor="ctr"/>
      <a:lstStyle>
        <a:defPPr marL="179388" indent="-179388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Char char="§"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normAutofit/>
      </a:bodyPr>
      <a:lstStyle>
        <a:defPPr marL="179388" indent="-179388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Char char="§"/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ABB+PowerPoint+template 09">
  <a:themeElements>
    <a:clrScheme name="ABB+PowerPoint+template 09 4">
      <a:dk1>
        <a:srgbClr val="000000"/>
      </a:dk1>
      <a:lt1>
        <a:srgbClr val="FFFFFF"/>
      </a:lt1>
      <a:dk2>
        <a:srgbClr val="9A2801"/>
      </a:dk2>
      <a:lt2>
        <a:srgbClr val="666666"/>
      </a:lt2>
      <a:accent1>
        <a:srgbClr val="BF4500"/>
      </a:accent1>
      <a:accent2>
        <a:srgbClr val="FF6C00"/>
      </a:accent2>
      <a:accent3>
        <a:srgbClr val="FFFFFF"/>
      </a:accent3>
      <a:accent4>
        <a:srgbClr val="000000"/>
      </a:accent4>
      <a:accent5>
        <a:srgbClr val="DCB0AA"/>
      </a:accent5>
      <a:accent6>
        <a:srgbClr val="E76100"/>
      </a:accent6>
      <a:hlink>
        <a:srgbClr val="FDAC25"/>
      </a:hlink>
      <a:folHlink>
        <a:srgbClr val="999999"/>
      </a:folHlink>
    </a:clrScheme>
    <a:fontScheme name="ABB+PowerPoint+template 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0000"/>
          <a:buFont typeface="Wingdings" pitchFamily="2" charset="2"/>
          <a:buChar char="§"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0000"/>
          <a:buFont typeface="Wingdings" pitchFamily="2" charset="2"/>
          <a:buChar char="§"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ABB+PowerPoint+template 09 1">
        <a:dk1>
          <a:srgbClr val="000000"/>
        </a:dk1>
        <a:lt1>
          <a:srgbClr val="FFFFFF"/>
        </a:lt1>
        <a:dk2>
          <a:srgbClr val="002897"/>
        </a:dk2>
        <a:lt2>
          <a:srgbClr val="666666"/>
        </a:lt2>
        <a:accent1>
          <a:srgbClr val="005ADE"/>
        </a:accent1>
        <a:accent2>
          <a:srgbClr val="0096EA"/>
        </a:accent2>
        <a:accent3>
          <a:srgbClr val="FFFFFF"/>
        </a:accent3>
        <a:accent4>
          <a:srgbClr val="000000"/>
        </a:accent4>
        <a:accent5>
          <a:srgbClr val="AAB5EC"/>
        </a:accent5>
        <a:accent6>
          <a:srgbClr val="0087D4"/>
        </a:accent6>
        <a:hlink>
          <a:srgbClr val="5BD8FF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BB+PowerPoint+template 09 2">
        <a:dk1>
          <a:srgbClr val="000000"/>
        </a:dk1>
        <a:lt1>
          <a:srgbClr val="FFFFFF"/>
        </a:lt1>
        <a:dk2>
          <a:srgbClr val="084C07"/>
        </a:dk2>
        <a:lt2>
          <a:srgbClr val="666666"/>
        </a:lt2>
        <a:accent1>
          <a:srgbClr val="028208"/>
        </a:accent1>
        <a:accent2>
          <a:srgbClr val="3AB200"/>
        </a:accent2>
        <a:accent3>
          <a:srgbClr val="FFFFFF"/>
        </a:accent3>
        <a:accent4>
          <a:srgbClr val="000000"/>
        </a:accent4>
        <a:accent5>
          <a:srgbClr val="AAC1AA"/>
        </a:accent5>
        <a:accent6>
          <a:srgbClr val="34A100"/>
        </a:accent6>
        <a:hlink>
          <a:srgbClr val="98DB38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BB+PowerPoint+template 09 3">
        <a:dk1>
          <a:srgbClr val="000000"/>
        </a:dk1>
        <a:lt1>
          <a:srgbClr val="FFFFFF"/>
        </a:lt1>
        <a:dk2>
          <a:srgbClr val="601F69"/>
        </a:dk2>
        <a:lt2>
          <a:srgbClr val="666666"/>
        </a:lt2>
        <a:accent1>
          <a:srgbClr val="904AB0"/>
        </a:accent1>
        <a:accent2>
          <a:srgbClr val="9868EF"/>
        </a:accent2>
        <a:accent3>
          <a:srgbClr val="FFFFFF"/>
        </a:accent3>
        <a:accent4>
          <a:srgbClr val="000000"/>
        </a:accent4>
        <a:accent5>
          <a:srgbClr val="C6B1D4"/>
        </a:accent5>
        <a:accent6>
          <a:srgbClr val="895ED9"/>
        </a:accent6>
        <a:hlink>
          <a:srgbClr val="B4A0E8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BB+PowerPoint+template 09 4">
        <a:dk1>
          <a:srgbClr val="000000"/>
        </a:dk1>
        <a:lt1>
          <a:srgbClr val="FFFFFF"/>
        </a:lt1>
        <a:dk2>
          <a:srgbClr val="9A2801"/>
        </a:dk2>
        <a:lt2>
          <a:srgbClr val="666666"/>
        </a:lt2>
        <a:accent1>
          <a:srgbClr val="BF4500"/>
        </a:accent1>
        <a:accent2>
          <a:srgbClr val="FF6C00"/>
        </a:accent2>
        <a:accent3>
          <a:srgbClr val="FFFFFF"/>
        </a:accent3>
        <a:accent4>
          <a:srgbClr val="000000"/>
        </a:accent4>
        <a:accent5>
          <a:srgbClr val="DCB0AA"/>
        </a:accent5>
        <a:accent6>
          <a:srgbClr val="E76100"/>
        </a:accent6>
        <a:hlink>
          <a:srgbClr val="FDAC25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005ADE"/>
      </a:accent1>
      <a:accent2>
        <a:srgbClr val="0096EA"/>
      </a:accent2>
      <a:accent3>
        <a:srgbClr val="FFFFFF"/>
      </a:accent3>
      <a:accent4>
        <a:srgbClr val="000000"/>
      </a:accent4>
      <a:accent5>
        <a:srgbClr val="AAB5EC"/>
      </a:accent5>
      <a:accent6>
        <a:srgbClr val="0087D4"/>
      </a:accent6>
      <a:hlink>
        <a:srgbClr val="5BD8FF"/>
      </a:hlink>
      <a:folHlink>
        <a:srgbClr val="99999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0000"/>
          <a:buFont typeface="Wingdings" pitchFamily="2" charset="2"/>
          <a:buChar char="§"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0000"/>
          <a:buFont typeface="Wingdings" pitchFamily="2" charset="2"/>
          <a:buChar char="§"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2897"/>
        </a:dk2>
        <a:lt2>
          <a:srgbClr val="666666"/>
        </a:lt2>
        <a:accent1>
          <a:srgbClr val="005ADE"/>
        </a:accent1>
        <a:accent2>
          <a:srgbClr val="0096EA"/>
        </a:accent2>
        <a:accent3>
          <a:srgbClr val="FFFFFF"/>
        </a:accent3>
        <a:accent4>
          <a:srgbClr val="000000"/>
        </a:accent4>
        <a:accent5>
          <a:srgbClr val="AAB5EC"/>
        </a:accent5>
        <a:accent6>
          <a:srgbClr val="0087D4"/>
        </a:accent6>
        <a:hlink>
          <a:srgbClr val="5BD8FF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84C07"/>
        </a:dk2>
        <a:lt2>
          <a:srgbClr val="666666"/>
        </a:lt2>
        <a:accent1>
          <a:srgbClr val="028208"/>
        </a:accent1>
        <a:accent2>
          <a:srgbClr val="3AB200"/>
        </a:accent2>
        <a:accent3>
          <a:srgbClr val="FFFFFF"/>
        </a:accent3>
        <a:accent4>
          <a:srgbClr val="000000"/>
        </a:accent4>
        <a:accent5>
          <a:srgbClr val="AAC1AA"/>
        </a:accent5>
        <a:accent6>
          <a:srgbClr val="34A100"/>
        </a:accent6>
        <a:hlink>
          <a:srgbClr val="98DB38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601F69"/>
        </a:dk2>
        <a:lt2>
          <a:srgbClr val="666666"/>
        </a:lt2>
        <a:accent1>
          <a:srgbClr val="904AB0"/>
        </a:accent1>
        <a:accent2>
          <a:srgbClr val="9868EF"/>
        </a:accent2>
        <a:accent3>
          <a:srgbClr val="FFFFFF"/>
        </a:accent3>
        <a:accent4>
          <a:srgbClr val="000000"/>
        </a:accent4>
        <a:accent5>
          <a:srgbClr val="C6B1D4"/>
        </a:accent5>
        <a:accent6>
          <a:srgbClr val="895ED9"/>
        </a:accent6>
        <a:hlink>
          <a:srgbClr val="B4A0E8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9A2801"/>
        </a:dk2>
        <a:lt2>
          <a:srgbClr val="666666"/>
        </a:lt2>
        <a:accent1>
          <a:srgbClr val="BF4500"/>
        </a:accent1>
        <a:accent2>
          <a:srgbClr val="FF6C00"/>
        </a:accent2>
        <a:accent3>
          <a:srgbClr val="FFFFFF"/>
        </a:accent3>
        <a:accent4>
          <a:srgbClr val="000000"/>
        </a:accent4>
        <a:accent5>
          <a:srgbClr val="DCB0AA"/>
        </a:accent5>
        <a:accent6>
          <a:srgbClr val="E76100"/>
        </a:accent6>
        <a:hlink>
          <a:srgbClr val="FDAC25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blank">
  <a:themeElements>
    <a:clrScheme name="ABB Blau 2">
      <a:dk1>
        <a:srgbClr val="000000"/>
      </a:dk1>
      <a:lt1>
        <a:srgbClr val="FFFFFF"/>
      </a:lt1>
      <a:dk2>
        <a:srgbClr val="002897"/>
      </a:dk2>
      <a:lt2>
        <a:srgbClr val="666666"/>
      </a:lt2>
      <a:accent1>
        <a:srgbClr val="005ADE"/>
      </a:accent1>
      <a:accent2>
        <a:srgbClr val="0096EA"/>
      </a:accent2>
      <a:accent3>
        <a:srgbClr val="5BD8FF"/>
      </a:accent3>
      <a:accent4>
        <a:srgbClr val="999999"/>
      </a:accent4>
      <a:accent5>
        <a:srgbClr val="666666"/>
      </a:accent5>
      <a:accent6>
        <a:srgbClr val="666666"/>
      </a:accent6>
      <a:hlink>
        <a:srgbClr val="5BD8FF"/>
      </a:hlink>
      <a:folHlink>
        <a:srgbClr val="999999"/>
      </a:folHlink>
    </a:clrScheme>
    <a:fontScheme name="A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tlCol="0" anchor="ctr"/>
      <a:lstStyle>
        <a:defPPr marL="179388" indent="-179388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Char char="§"/>
          <a:defRPr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normAutofit/>
      </a:bodyPr>
      <a:lstStyle>
        <a:defPPr marL="179388" indent="-179388">
          <a:spcBef>
            <a:spcPts val="1100"/>
          </a:spcBef>
          <a:buClr>
            <a:schemeClr val="tx2"/>
          </a:buClr>
          <a:buSzPct val="70000"/>
          <a:buFont typeface="Wingdings" pitchFamily="2" charset="2"/>
          <a:buChar char="§"/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howofficecode>false</Showofficecode>
</file>

<file path=customXml/item2.xml><?xml version="1.0" encoding="utf-8"?>
<Showfilename>false</Showfilename>
</file>

<file path=customXml/itemProps1.xml><?xml version="1.0" encoding="utf-8"?>
<ds:datastoreItem xmlns:ds="http://schemas.openxmlformats.org/officeDocument/2006/customXml" ds:itemID="{7FEE19FC-BF7C-48FA-B78C-F6F4193E5007}">
  <ds:schemaRefs/>
</ds:datastoreItem>
</file>

<file path=customXml/itemProps2.xml><?xml version="1.0" encoding="utf-8"?>
<ds:datastoreItem xmlns:ds="http://schemas.openxmlformats.org/officeDocument/2006/customXml" ds:itemID="{0DCA723E-249C-493A-B89C-AA3EC0FA42B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5</TotalTime>
  <Words>1433</Words>
  <Application>Microsoft Office PowerPoint</Application>
  <PresentationFormat>On-screen Show (4:3)</PresentationFormat>
  <Paragraphs>492</Paragraphs>
  <Slides>18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7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lu seminar ppt template</vt:lpstr>
      <vt:lpstr>ABB_OS</vt:lpstr>
      <vt:lpstr>blank</vt:lpstr>
      <vt:lpstr>1_blank</vt:lpstr>
      <vt:lpstr>ABB+PowerPoint+template 09</vt:lpstr>
      <vt:lpstr>3_blank</vt:lpstr>
      <vt:lpstr>5_blank</vt:lpstr>
      <vt:lpstr>PowerPoint Presentation</vt:lpstr>
      <vt:lpstr>ABB Services Structured standard elements of service scope</vt:lpstr>
      <vt:lpstr>PowerPoint Presentation</vt:lpstr>
      <vt:lpstr>PowerPoint Presentation</vt:lpstr>
      <vt:lpstr>PowerPoint Presentation</vt:lpstr>
      <vt:lpstr>PowerPoint Presentation</vt:lpstr>
      <vt:lpstr>Challenges &amp; concerns</vt:lpstr>
      <vt:lpstr>ABB Services Structured standard elements of service scope</vt:lpstr>
      <vt:lpstr>EE Portfolio from ABB </vt:lpstr>
      <vt:lpstr>Energy Efficiency in Food and Beverage </vt:lpstr>
      <vt:lpstr>Energy Efficiency in Cement   </vt:lpstr>
      <vt:lpstr>Power System FingerPrint</vt:lpstr>
      <vt:lpstr>Control System FingerPrint</vt:lpstr>
      <vt:lpstr>Captive Power Plant FingerPrint</vt:lpstr>
      <vt:lpstr>PowerPoint Presentation</vt:lpstr>
      <vt:lpstr>Extended BU services: holistic client approach</vt:lpstr>
      <vt:lpstr>Integrated Process and Power Automation Concept &amp; benefits </vt:lpstr>
      <vt:lpstr>Integrated Process and Power Automation Electrical Integration with System 800xA</vt:lpstr>
    </vt:vector>
  </TitlesOfParts>
  <Company>AB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ater Utilities / Pumping Stations ABB’s full product &amp; service portfolio</dc:title>
  <dc:creator>Vishalgupta RV</dc:creator>
  <cp:lastModifiedBy>Vishalgupta RV</cp:lastModifiedBy>
  <cp:revision>28</cp:revision>
  <dcterms:created xsi:type="dcterms:W3CDTF">2013-11-21T16:54:49Z</dcterms:created>
  <dcterms:modified xsi:type="dcterms:W3CDTF">2014-02-10T10:37:38Z</dcterms:modified>
</cp:coreProperties>
</file>